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5" r:id="rId5"/>
    <p:sldMasterId id="2147485608" r:id="rId6"/>
    <p:sldMasterId id="2147485609" r:id="rId7"/>
    <p:sldMasterId id="2147485514" r:id="rId8"/>
    <p:sldMasterId id="2147485617" r:id="rId9"/>
    <p:sldMasterId id="2147485626" r:id="rId10"/>
    <p:sldMasterId id="2147485632" r:id="rId11"/>
    <p:sldMasterId id="2147485640" r:id="rId12"/>
    <p:sldMasterId id="2147485410" r:id="rId13"/>
    <p:sldMasterId id="2147485668" r:id="rId14"/>
  </p:sldMasterIdLst>
  <p:notesMasterIdLst>
    <p:notesMasterId r:id="rId19"/>
  </p:notesMasterIdLst>
  <p:handoutMasterIdLst>
    <p:handoutMasterId r:id="rId20"/>
  </p:handoutMasterIdLst>
  <p:sldIdLst>
    <p:sldId id="277" r:id="rId15"/>
    <p:sldId id="275" r:id="rId16"/>
    <p:sldId id="276" r:id="rId17"/>
    <p:sldId id="280" r:id="rId18"/>
  </p:sldIdLst>
  <p:sldSz cx="9144000" cy="5715000" type="screen16x10"/>
  <p:notesSz cx="6858000" cy="9144000"/>
  <p:defaultTextStyle>
    <a:defPPr>
      <a:defRPr lang="en-US"/>
    </a:defPPr>
    <a:lvl1pPr algn="l" defTabSz="809592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1pPr>
    <a:lvl2pPr marL="404797" indent="52386" algn="l" defTabSz="809592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2pPr>
    <a:lvl3pPr marL="809592" indent="104771" algn="l" defTabSz="809592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3pPr>
    <a:lvl4pPr marL="1214390" indent="157157" algn="l" defTabSz="809592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4pPr>
    <a:lvl5pPr marL="1620773" indent="207955" algn="l" defTabSz="809592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5pPr>
    <a:lvl6pPr marL="2285909" algn="l" defTabSz="457181" rtl="0" eaLnBrk="1" latinLnBrk="0" hangingPunct="1"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6pPr>
    <a:lvl7pPr marL="2743090" algn="l" defTabSz="457181" rtl="0" eaLnBrk="1" latinLnBrk="0" hangingPunct="1"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7pPr>
    <a:lvl8pPr marL="3200272" algn="l" defTabSz="457181" rtl="0" eaLnBrk="1" latinLnBrk="0" hangingPunct="1"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8pPr>
    <a:lvl9pPr marL="3657454" algn="l" defTabSz="457181" rtl="0" eaLnBrk="1" latinLnBrk="0" hangingPunct="1">
      <a:defRPr sz="1600"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07" userDrawn="1">
          <p15:clr>
            <a:srgbClr val="A4A3A4"/>
          </p15:clr>
        </p15:guide>
        <p15:guide id="2" orient="horz" pos="1167" userDrawn="1">
          <p15:clr>
            <a:srgbClr val="A4A3A4"/>
          </p15:clr>
        </p15:guide>
        <p15:guide id="3" orient="horz" pos="161" userDrawn="1">
          <p15:clr>
            <a:srgbClr val="A4A3A4"/>
          </p15:clr>
        </p15:guide>
        <p15:guide id="4" orient="horz" pos="213" userDrawn="1">
          <p15:clr>
            <a:srgbClr val="A4A3A4"/>
          </p15:clr>
        </p15:guide>
        <p15:guide id="5" orient="horz" pos="320" userDrawn="1">
          <p15:clr>
            <a:srgbClr val="A4A3A4"/>
          </p15:clr>
        </p15:guide>
        <p15:guide id="6" orient="horz" pos="408" userDrawn="1">
          <p15:clr>
            <a:srgbClr val="A4A3A4"/>
          </p15:clr>
        </p15:guide>
        <p15:guide id="7" orient="horz" pos="490" userDrawn="1">
          <p15:clr>
            <a:srgbClr val="A4A3A4"/>
          </p15:clr>
        </p15:guide>
        <p15:guide id="8" orient="horz" pos="491" userDrawn="1">
          <p15:clr>
            <a:srgbClr val="A4A3A4"/>
          </p15:clr>
        </p15:guide>
        <p15:guide id="9" orient="horz" pos="575" userDrawn="1">
          <p15:clr>
            <a:srgbClr val="A4A3A4"/>
          </p15:clr>
        </p15:guide>
        <p15:guide id="10" orient="horz" pos="660" userDrawn="1">
          <p15:clr>
            <a:srgbClr val="A4A3A4"/>
          </p15:clr>
        </p15:guide>
        <p15:guide id="11" orient="horz" pos="489" userDrawn="1">
          <p15:clr>
            <a:srgbClr val="A4A3A4"/>
          </p15:clr>
        </p15:guide>
        <p15:guide id="12" orient="horz" pos="742" userDrawn="1">
          <p15:clr>
            <a:srgbClr val="A4A3A4"/>
          </p15:clr>
        </p15:guide>
        <p15:guide id="13" orient="horz" pos="912" userDrawn="1">
          <p15:clr>
            <a:srgbClr val="A4A3A4"/>
          </p15:clr>
        </p15:guide>
        <p15:guide id="14" orient="horz" pos="840" userDrawn="1">
          <p15:clr>
            <a:srgbClr val="A4A3A4"/>
          </p15:clr>
        </p15:guide>
        <p15:guide id="15" orient="horz" pos="996" userDrawn="1">
          <p15:clr>
            <a:srgbClr val="A4A3A4"/>
          </p15:clr>
        </p15:guide>
        <p15:guide id="16" orient="horz" pos="1081" userDrawn="1">
          <p15:clr>
            <a:srgbClr val="A4A3A4"/>
          </p15:clr>
        </p15:guide>
        <p15:guide id="17" orient="horz" pos="1272" userDrawn="1">
          <p15:clr>
            <a:srgbClr val="A4A3A4"/>
          </p15:clr>
        </p15:guide>
        <p15:guide id="18" orient="horz" pos="1335" userDrawn="1">
          <p15:clr>
            <a:srgbClr val="A4A3A4"/>
          </p15:clr>
        </p15:guide>
        <p15:guide id="19" orient="horz" pos="1420" userDrawn="1">
          <p15:clr>
            <a:srgbClr val="A4A3A4"/>
          </p15:clr>
        </p15:guide>
        <p15:guide id="20" orient="horz" pos="1504" userDrawn="1">
          <p15:clr>
            <a:srgbClr val="A4A3A4"/>
          </p15:clr>
        </p15:guide>
        <p15:guide id="21" orient="horz" pos="1588" userDrawn="1">
          <p15:clr>
            <a:srgbClr val="A4A3A4"/>
          </p15:clr>
        </p15:guide>
        <p15:guide id="22" orient="horz" pos="1673" userDrawn="1">
          <p15:clr>
            <a:srgbClr val="A4A3A4"/>
          </p15:clr>
        </p15:guide>
        <p15:guide id="23" orient="horz" pos="1758" userDrawn="1">
          <p15:clr>
            <a:srgbClr val="A4A3A4"/>
          </p15:clr>
        </p15:guide>
        <p15:guide id="24" orient="horz" pos="1843" userDrawn="1">
          <p15:clr>
            <a:srgbClr val="A4A3A4"/>
          </p15:clr>
        </p15:guide>
        <p15:guide id="25" orient="horz" pos="1927" userDrawn="1">
          <p15:clr>
            <a:srgbClr val="A4A3A4"/>
          </p15:clr>
        </p15:guide>
        <p15:guide id="26" orient="horz" pos="2015" userDrawn="1">
          <p15:clr>
            <a:srgbClr val="A4A3A4"/>
          </p15:clr>
        </p15:guide>
        <p15:guide id="27" orient="horz" pos="2095" userDrawn="1">
          <p15:clr>
            <a:srgbClr val="A4A3A4"/>
          </p15:clr>
        </p15:guide>
        <p15:guide id="28" orient="horz" pos="2181" userDrawn="1">
          <p15:clr>
            <a:srgbClr val="A4A3A4"/>
          </p15:clr>
        </p15:guide>
        <p15:guide id="29" orient="horz" pos="2265" userDrawn="1">
          <p15:clr>
            <a:srgbClr val="A4A3A4"/>
          </p15:clr>
        </p15:guide>
        <p15:guide id="30" orient="horz" pos="2350" userDrawn="1">
          <p15:clr>
            <a:srgbClr val="A4A3A4"/>
          </p15:clr>
        </p15:guide>
        <p15:guide id="31" orient="horz" pos="2434" userDrawn="1">
          <p15:clr>
            <a:srgbClr val="A4A3A4"/>
          </p15:clr>
        </p15:guide>
        <p15:guide id="32" orient="horz" pos="2518" userDrawn="1">
          <p15:clr>
            <a:srgbClr val="A4A3A4"/>
          </p15:clr>
        </p15:guide>
        <p15:guide id="33" orient="horz" pos="2604" userDrawn="1">
          <p15:clr>
            <a:srgbClr val="A4A3A4"/>
          </p15:clr>
        </p15:guide>
        <p15:guide id="34" orient="horz" pos="2689" userDrawn="1">
          <p15:clr>
            <a:srgbClr val="A4A3A4"/>
          </p15:clr>
        </p15:guide>
        <p15:guide id="35" orient="horz" pos="2774" userDrawn="1">
          <p15:clr>
            <a:srgbClr val="A4A3A4"/>
          </p15:clr>
        </p15:guide>
        <p15:guide id="36" orient="horz" pos="2857" userDrawn="1">
          <p15:clr>
            <a:srgbClr val="A4A3A4"/>
          </p15:clr>
        </p15:guide>
        <p15:guide id="37" orient="horz" pos="2942" userDrawn="1">
          <p15:clr>
            <a:srgbClr val="A4A3A4"/>
          </p15:clr>
        </p15:guide>
        <p15:guide id="38" orient="horz" pos="3027" userDrawn="1">
          <p15:clr>
            <a:srgbClr val="A4A3A4"/>
          </p15:clr>
        </p15:guide>
        <p15:guide id="39" orient="horz" pos="3111" userDrawn="1">
          <p15:clr>
            <a:srgbClr val="A4A3A4"/>
          </p15:clr>
        </p15:guide>
        <p15:guide id="40" orient="horz" pos="3197" userDrawn="1">
          <p15:clr>
            <a:srgbClr val="A4A3A4"/>
          </p15:clr>
        </p15:guide>
        <p15:guide id="41" orient="horz" pos="3280" userDrawn="1">
          <p15:clr>
            <a:srgbClr val="A4A3A4"/>
          </p15:clr>
        </p15:guide>
        <p15:guide id="42" orient="horz" pos="3388" userDrawn="1">
          <p15:clr>
            <a:srgbClr val="A4A3A4"/>
          </p15:clr>
        </p15:guide>
        <p15:guide id="43" orient="horz" pos="3441" userDrawn="1">
          <p15:clr>
            <a:srgbClr val="A4A3A4"/>
          </p15:clr>
        </p15:guide>
        <p15:guide id="44" orient="horz" pos="3494" userDrawn="1">
          <p15:clr>
            <a:srgbClr val="A4A3A4"/>
          </p15:clr>
        </p15:guide>
        <p15:guide id="45" pos="2831" userDrawn="1">
          <p15:clr>
            <a:srgbClr val="A4A3A4"/>
          </p15:clr>
        </p15:guide>
        <p15:guide id="46" pos="2929" userDrawn="1">
          <p15:clr>
            <a:srgbClr val="A4A3A4"/>
          </p15:clr>
        </p15:guide>
        <p15:guide id="47" pos="3709" userDrawn="1">
          <p15:clr>
            <a:srgbClr val="A4A3A4"/>
          </p15:clr>
        </p15:guide>
        <p15:guide id="48" pos="2049" userDrawn="1">
          <p15:clr>
            <a:srgbClr val="A4A3A4"/>
          </p15:clr>
        </p15:guide>
        <p15:guide id="49" pos="3811" userDrawn="1">
          <p15:clr>
            <a:srgbClr val="A4A3A4"/>
          </p15:clr>
        </p15:guide>
        <p15:guide id="50" pos="4690" userDrawn="1">
          <p15:clr>
            <a:srgbClr val="A4A3A4"/>
          </p15:clr>
        </p15:guide>
        <p15:guide id="51" pos="4591" userDrawn="1">
          <p15:clr>
            <a:srgbClr val="A4A3A4"/>
          </p15:clr>
        </p15:guide>
        <p15:guide id="52" pos="5471" userDrawn="1">
          <p15:clr>
            <a:srgbClr val="A4A3A4"/>
          </p15:clr>
        </p15:guide>
        <p15:guide id="53" pos="5614" userDrawn="1">
          <p15:clr>
            <a:srgbClr val="A4A3A4"/>
          </p15:clr>
        </p15:guide>
        <p15:guide id="54" pos="1949" userDrawn="1">
          <p15:clr>
            <a:srgbClr val="A4A3A4"/>
          </p15:clr>
        </p15:guide>
        <p15:guide id="55" pos="1169" userDrawn="1">
          <p15:clr>
            <a:srgbClr val="A4A3A4"/>
          </p15:clr>
        </p15:guide>
        <p15:guide id="56" pos="1069" userDrawn="1">
          <p15:clr>
            <a:srgbClr val="A4A3A4"/>
          </p15:clr>
        </p15:guide>
        <p15:guide id="57" pos="289" userDrawn="1">
          <p15:clr>
            <a:srgbClr val="A4A3A4"/>
          </p15:clr>
        </p15:guide>
        <p15:guide id="58" pos="1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989E"/>
    <a:srgbClr val="58565B"/>
    <a:srgbClr val="E6E7E8"/>
    <a:srgbClr val="F37B74"/>
    <a:srgbClr val="A51119"/>
    <a:srgbClr val="F35D54"/>
    <a:srgbClr val="F9A65B"/>
    <a:srgbClr val="58595B"/>
    <a:srgbClr val="2884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E522BDD-1943-480C-BBE2-672E455E01C6}">
  <a:tblStyle styleId="{2E522BDD-1943-480C-BBE2-672E455E01C6}" styleName="Epinion Template - Tab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3175" cmpd="sng">
              <a:solidFill>
                <a:schemeClr val="tx1">
                  <a:lumMod val="50000"/>
                  <a:lumOff val="50000"/>
                </a:schemeClr>
              </a:solidFill>
            </a:ln>
          </a:insideH>
          <a:insideV>
            <a:ln>
              <a:noFill/>
            </a:ln>
          </a:insideV>
        </a:tcBdr>
        <a:fill>
          <a:solidFill>
            <a:srgbClr val="E6E7E7"/>
          </a:solidFill>
        </a:fill>
      </a:tcStyle>
    </a:wholeTbl>
    <a:firstRow>
      <a:tcTxStyle b="on"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6E7E7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0573" autoAdjust="0"/>
  </p:normalViewPr>
  <p:slideViewPr>
    <p:cSldViewPr snapToGrid="0" snapToObjects="1">
      <p:cViewPr varScale="1">
        <p:scale>
          <a:sx n="83" d="100"/>
          <a:sy n="83" d="100"/>
        </p:scale>
        <p:origin x="1478" y="67"/>
      </p:cViewPr>
      <p:guideLst>
        <p:guide orient="horz" pos="107"/>
        <p:guide orient="horz" pos="1167"/>
        <p:guide orient="horz" pos="161"/>
        <p:guide orient="horz" pos="213"/>
        <p:guide orient="horz" pos="320"/>
        <p:guide orient="horz" pos="408"/>
        <p:guide orient="horz" pos="490"/>
        <p:guide orient="horz" pos="491"/>
        <p:guide orient="horz" pos="575"/>
        <p:guide orient="horz" pos="660"/>
        <p:guide orient="horz" pos="489"/>
        <p:guide orient="horz" pos="742"/>
        <p:guide orient="horz" pos="912"/>
        <p:guide orient="horz" pos="840"/>
        <p:guide orient="horz" pos="996"/>
        <p:guide orient="horz" pos="1081"/>
        <p:guide orient="horz" pos="1272"/>
        <p:guide orient="horz" pos="1335"/>
        <p:guide orient="horz" pos="1420"/>
        <p:guide orient="horz" pos="1504"/>
        <p:guide orient="horz" pos="1588"/>
        <p:guide orient="horz" pos="1673"/>
        <p:guide orient="horz" pos="1758"/>
        <p:guide orient="horz" pos="1843"/>
        <p:guide orient="horz" pos="1927"/>
        <p:guide orient="horz" pos="2015"/>
        <p:guide orient="horz" pos="2095"/>
        <p:guide orient="horz" pos="2181"/>
        <p:guide orient="horz" pos="2265"/>
        <p:guide orient="horz" pos="2350"/>
        <p:guide orient="horz" pos="2434"/>
        <p:guide orient="horz" pos="2518"/>
        <p:guide orient="horz" pos="2604"/>
        <p:guide orient="horz" pos="2689"/>
        <p:guide orient="horz" pos="2774"/>
        <p:guide orient="horz" pos="2857"/>
        <p:guide orient="horz" pos="2942"/>
        <p:guide orient="horz" pos="3027"/>
        <p:guide orient="horz" pos="3111"/>
        <p:guide orient="horz" pos="3197"/>
        <p:guide orient="horz" pos="3280"/>
        <p:guide orient="horz" pos="3388"/>
        <p:guide orient="horz" pos="3441"/>
        <p:guide orient="horz" pos="3494"/>
        <p:guide pos="2831"/>
        <p:guide pos="2929"/>
        <p:guide pos="3709"/>
        <p:guide pos="2049"/>
        <p:guide pos="3811"/>
        <p:guide pos="4690"/>
        <p:guide pos="4591"/>
        <p:guide pos="5471"/>
        <p:guide pos="5614"/>
        <p:guide pos="1949"/>
        <p:guide pos="1169"/>
        <p:guide pos="1069"/>
        <p:guide pos="289"/>
        <p:guide pos="14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2306"/>
    </p:cViewPr>
  </p:sorterViewPr>
  <p:notesViewPr>
    <p:cSldViewPr snapToGrid="0" snapToObjects="1">
      <p:cViewPr varScale="1">
        <p:scale>
          <a:sx n="54" d="100"/>
          <a:sy n="54" d="100"/>
        </p:scale>
        <p:origin x="1212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810433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810433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D3A8D49-F231-6A43-9A88-0B6F68F2526E}" type="datetimeFigureOut">
              <a:rPr lang="en-US"/>
              <a:pPr>
                <a:defRPr/>
              </a:pPr>
              <a:t>2/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810433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810433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999ADCB-E63F-5841-8342-8A24D8F8B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3831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810433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810433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7226017-9A39-AF4C-8AA4-D8B163461054}" type="datetimeFigureOut">
              <a:rPr lang="en-US"/>
              <a:pPr>
                <a:defRPr/>
              </a:pPr>
              <a:t>2/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810433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810433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477A22F-F93C-0646-9FE8-47A526A4E0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8333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09592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04797" algn="l" defTabSz="809592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809592" algn="l" defTabSz="809592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214390" algn="l" defTabSz="809592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620773" algn="l" defTabSz="809592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026001" algn="l" defTabSz="81040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31201" algn="l" defTabSz="81040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36401" algn="l" defTabSz="81040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41601" algn="l" defTabSz="81040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0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7A22F-F93C-0646-9FE8-47A526A4E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0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99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7A22F-F93C-0646-9FE8-47A526A4E0B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720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microsoft.com/office/2007/relationships/hdphoto" Target="../media/hdphoto4.wdp"/><Relationship Id="rId4" Type="http://schemas.openxmlformats.org/officeDocument/2006/relationships/image" Target="../media/image10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microsoft.com/office/2007/relationships/hdphoto" Target="../media/hdphoto4.wdp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4.wdp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7.png"/></Relationships>
</file>

<file path=ppt/slideLayouts/_rels/slideLayout8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0" y="1"/>
            <a:ext cx="9144000" cy="5715000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Insert Thumbnail Picture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0" y="509588"/>
            <a:ext cx="5888038" cy="1881188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58788" y="779463"/>
            <a:ext cx="3001962" cy="936624"/>
          </a:xfrm>
          <a:prstGeom prst="rect">
            <a:avLst/>
          </a:prstGeom>
        </p:spPr>
        <p:txBody>
          <a:bodyPr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2400" b="1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8788" y="1716087"/>
            <a:ext cx="3001962" cy="398464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TYPE OF REPORT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604" y="779463"/>
            <a:ext cx="6097" cy="134123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604" y="779463"/>
            <a:ext cx="6097" cy="1341236"/>
          </a:xfrm>
          <a:prstGeom prst="rect">
            <a:avLst/>
          </a:prstGeom>
        </p:spPr>
      </p:pic>
      <p:sp>
        <p:nvSpPr>
          <p:cNvPr id="25" name="Picture Placeholder 2"/>
          <p:cNvSpPr>
            <a:spLocks noGrp="1"/>
          </p:cNvSpPr>
          <p:nvPr>
            <p:ph type="pic" sz="quarter" idx="65"/>
          </p:nvPr>
        </p:nvSpPr>
        <p:spPr>
          <a:xfrm>
            <a:off x="3595081" y="779463"/>
            <a:ext cx="9144" cy="1335087"/>
          </a:xfrm>
          <a:solidFill>
            <a:schemeClr val="bg1"/>
          </a:solidFill>
        </p:spPr>
        <p:txBody>
          <a:bodyPr/>
          <a:lstStyle>
            <a:lvl1pPr>
              <a:defRPr sz="1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38556" y="779463"/>
            <a:ext cx="1830394" cy="93662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ENT NAM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66" hasCustomPrompt="1"/>
          </p:nvPr>
        </p:nvSpPr>
        <p:spPr>
          <a:xfrm>
            <a:off x="3738556" y="1716087"/>
            <a:ext cx="1830394" cy="398464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DD/MM/YY</a:t>
            </a:r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2528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15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572000" y="3445726"/>
            <a:ext cx="4572000" cy="14855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4" name="Text Placeholder 14"/>
          <p:cNvSpPr txBox="1">
            <a:spLocks/>
          </p:cNvSpPr>
          <p:nvPr userDrawn="1"/>
        </p:nvSpPr>
        <p:spPr bwMode="auto">
          <a:xfrm>
            <a:off x="6905503" y="3626014"/>
            <a:ext cx="1784473" cy="110341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000" kern="0" cap="all" spc="0" baseline="0">
                <a:solidFill>
                  <a:schemeClr val="bg1"/>
                </a:solidFill>
                <a:latin typeface="+mj-lt"/>
                <a:ea typeface="ＭＳ Ｐゴシック" charset="0"/>
                <a:cs typeface="Myriad Pro Light"/>
              </a:defRPr>
            </a:lvl1pPr>
            <a:lvl2pPr marL="0" indent="0" algn="l" defTabSz="809625" rtl="0" eaLnBrk="1" fontAlgn="base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lang="en-US" sz="900" kern="0" spc="0" baseline="0" dirty="0" smtClean="0">
                <a:solidFill>
                  <a:schemeClr val="bg1"/>
                </a:soli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defRPr>
            </a:lvl2pPr>
            <a:lvl3pPr marL="690563" indent="-233363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→"/>
              <a:defRPr lang="en-US" sz="800" kern="0" spc="0" baseline="0" dirty="0">
                <a:solidFill>
                  <a:srgbClr val="6D6E71"/>
                </a:solidFill>
                <a:latin typeface="+mn-lt"/>
                <a:ea typeface="ＭＳ Ｐゴシック" charset="0"/>
                <a:cs typeface="Myriad Pro Light"/>
              </a:defRPr>
            </a:lvl3pPr>
            <a:lvl4pPr marL="914400" indent="-223838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↘"/>
              <a:defRPr lang="en-US" sz="700" kern="0" spc="0" dirty="0">
                <a:solidFill>
                  <a:srgbClr val="808285"/>
                </a:solidFill>
                <a:latin typeface="+mn-lt"/>
                <a:ea typeface="ＭＳ Ｐゴシック" charset="0"/>
                <a:cs typeface="Myriad Pro Light"/>
              </a:defRPr>
            </a:lvl4pPr>
            <a:lvl5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charset="0"/>
              <a:buNone/>
              <a:tabLst/>
              <a:defRPr lang="en-US" sz="1000" kern="0" spc="0">
                <a:solidFill>
                  <a:schemeClr val="bg1"/>
                </a:solidFill>
                <a:latin typeface="+mn-lt"/>
                <a:ea typeface="ＭＳ Ｐゴシック" charset="0"/>
                <a:cs typeface="Myriad Pro Light"/>
              </a:defRPr>
            </a:lvl5pPr>
            <a:lvl6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200" kern="1200">
                <a:solidFill>
                  <a:srgbClr val="414042"/>
                </a:solidFill>
                <a:latin typeface="+mj-lt"/>
                <a:ea typeface="+mn-ea"/>
                <a:cs typeface="+mn-cs"/>
              </a:defRPr>
            </a:lvl6pPr>
            <a:lvl7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rgbClr val="58595B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8pPr>
            <a:lvl9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800" kern="1200">
                <a:solidFill>
                  <a:srgbClr val="A7A9AC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o-RO" b="1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EPINION KØBENHAVN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ro-RO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Ryesgade 3F</a:t>
            </a:r>
            <a:endParaRPr lang="en-US" sz="900" cap="none" dirty="0">
              <a:solidFill>
                <a:srgbClr val="FFFFFF"/>
              </a:solidFill>
              <a:latin typeface="Calibri" panose="020F0502020204030204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ro-RO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2200 </a:t>
            </a:r>
            <a:r>
              <a:rPr lang="en-US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C</a:t>
            </a:r>
            <a:r>
              <a:rPr lang="ro-RO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openhagen N</a:t>
            </a:r>
            <a:r>
              <a:rPr lang="en-US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ro-RO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Denmark </a:t>
            </a:r>
            <a:endParaRPr lang="en-US" sz="900" cap="none" dirty="0">
              <a:solidFill>
                <a:srgbClr val="FFFFFF"/>
              </a:solidFill>
              <a:latin typeface="Calibri" panose="020F0502020204030204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ro-RO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T: +45 87 30 95 00 </a:t>
            </a:r>
            <a:endParaRPr lang="en-US" sz="900" cap="none" dirty="0">
              <a:solidFill>
                <a:srgbClr val="FFFFFF"/>
              </a:solidFill>
              <a:latin typeface="Calibri" panose="020F0502020204030204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ro-RO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E: copenhagen@epinion.</a:t>
            </a:r>
            <a:r>
              <a:rPr lang="en-US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d</a:t>
            </a:r>
            <a:r>
              <a:rPr lang="ro-RO" sz="900" cap="none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k</a:t>
            </a:r>
            <a:endParaRPr lang="en-US" sz="900" cap="none" dirty="0">
              <a:solidFill>
                <a:srgbClr val="FFFFFF"/>
              </a:solidFill>
              <a:latin typeface="Calibri" panose="020F0502020204030204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Text Placeholder 14"/>
          <p:cNvSpPr txBox="1">
            <a:spLocks/>
          </p:cNvSpPr>
          <p:nvPr userDrawn="1"/>
        </p:nvSpPr>
        <p:spPr bwMode="auto">
          <a:xfrm>
            <a:off x="4829175" y="3626014"/>
            <a:ext cx="1784473" cy="110341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000" kern="0" cap="all" spc="0" baseline="0">
                <a:solidFill>
                  <a:schemeClr val="bg1"/>
                </a:solidFill>
                <a:latin typeface="+mj-lt"/>
                <a:ea typeface="ＭＳ Ｐゴシック" charset="0"/>
                <a:cs typeface="Myriad Pro Light"/>
              </a:defRPr>
            </a:lvl1pPr>
            <a:lvl2pPr marL="0" indent="0" algn="l" defTabSz="809625" rtl="0" eaLnBrk="1" fontAlgn="base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lang="en-US" sz="900" kern="0" spc="0" baseline="0" dirty="0" smtClean="0">
                <a:solidFill>
                  <a:schemeClr val="bg1"/>
                </a:soli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defRPr>
            </a:lvl2pPr>
            <a:lvl3pPr marL="690563" indent="-233363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→"/>
              <a:defRPr lang="en-US" sz="800" kern="0" spc="0" baseline="0" dirty="0">
                <a:solidFill>
                  <a:srgbClr val="6D6E71"/>
                </a:solidFill>
                <a:latin typeface="+mn-lt"/>
                <a:ea typeface="ＭＳ Ｐゴシック" charset="0"/>
                <a:cs typeface="Myriad Pro Light"/>
              </a:defRPr>
            </a:lvl3pPr>
            <a:lvl4pPr marL="914400" indent="-223838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↘"/>
              <a:defRPr lang="en-US" sz="700" kern="0" spc="0" dirty="0">
                <a:solidFill>
                  <a:srgbClr val="808285"/>
                </a:solidFill>
                <a:latin typeface="+mn-lt"/>
                <a:ea typeface="ＭＳ Ｐゴシック" charset="0"/>
                <a:cs typeface="Myriad Pro Light"/>
              </a:defRPr>
            </a:lvl4pPr>
            <a:lvl5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charset="0"/>
              <a:buNone/>
              <a:tabLst/>
              <a:defRPr lang="en-US" sz="1000" kern="0" spc="0">
                <a:solidFill>
                  <a:schemeClr val="bg1"/>
                </a:solidFill>
                <a:latin typeface="+mn-lt"/>
                <a:ea typeface="ＭＳ Ｐゴシック" charset="0"/>
                <a:cs typeface="Myriad Pro Light"/>
              </a:defRPr>
            </a:lvl5pPr>
            <a:lvl6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200" kern="1200">
                <a:solidFill>
                  <a:srgbClr val="414042"/>
                </a:solidFill>
                <a:latin typeface="+mj-lt"/>
                <a:ea typeface="+mn-ea"/>
                <a:cs typeface="+mn-cs"/>
              </a:defRPr>
            </a:lvl6pPr>
            <a:lvl7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rgbClr val="58595B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8pPr>
            <a:lvl9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800" kern="1200">
                <a:solidFill>
                  <a:srgbClr val="A7A9AC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latin typeface="Calibri" panose="020F0502020204030204" pitchFamily="34" charset="0"/>
              </a:rPr>
              <a:t>Epinion</a:t>
            </a:r>
            <a:r>
              <a:rPr lang="en-US" b="1" dirty="0">
                <a:latin typeface="Calibri" panose="020F0502020204030204" pitchFamily="34" charset="0"/>
              </a:rPr>
              <a:t> Aarhus</a:t>
            </a:r>
            <a:r>
              <a:rPr lang="en-US" dirty="0">
                <a:latin typeface="Calibri" panose="020F0502020204030204" pitchFamily="34" charset="0"/>
              </a:rPr>
              <a:t> </a:t>
            </a:r>
          </a:p>
          <a:p>
            <a:pPr lvl="1"/>
            <a:r>
              <a:rPr lang="en-US" dirty="0">
                <a:latin typeface="Calibri" panose="020F0502020204030204" pitchFamily="34" charset="0"/>
              </a:rPr>
              <a:t>Hack </a:t>
            </a:r>
            <a:r>
              <a:rPr lang="en-US" dirty="0" err="1">
                <a:latin typeface="Calibri" panose="020F0502020204030204" pitchFamily="34" charset="0"/>
              </a:rPr>
              <a:t>Kampmanns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Plads</a:t>
            </a:r>
            <a:r>
              <a:rPr lang="en-US" dirty="0">
                <a:latin typeface="Calibri" panose="020F0502020204030204" pitchFamily="34" charset="0"/>
              </a:rPr>
              <a:t> 1-3 </a:t>
            </a:r>
          </a:p>
          <a:p>
            <a:pPr lvl="1"/>
            <a:r>
              <a:rPr lang="en-US" dirty="0">
                <a:latin typeface="Calibri" panose="020F0502020204030204" pitchFamily="34" charset="0"/>
              </a:rPr>
              <a:t>8000 Aarhus C , Denmark </a:t>
            </a:r>
          </a:p>
          <a:p>
            <a:pPr lvl="1"/>
            <a:r>
              <a:rPr lang="en-US" dirty="0">
                <a:latin typeface="Calibri" panose="020F0502020204030204" pitchFamily="34" charset="0"/>
              </a:rPr>
              <a:t>T: +45 87 30 95 00 </a:t>
            </a:r>
          </a:p>
          <a:p>
            <a:pPr lvl="1"/>
            <a:r>
              <a:rPr lang="en-US" dirty="0">
                <a:latin typeface="Calibri" panose="020F0502020204030204" pitchFamily="34" charset="0"/>
              </a:rPr>
              <a:t>E: aarhus@epinion.dk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8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4829175" y="4599778"/>
            <a:ext cx="1267976" cy="1754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Myriad Pro Light"/>
              </a:rPr>
              <a:t>www.epinionglobal.com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4829176" y="4568192"/>
            <a:ext cx="4079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9584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8065008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6" y="2115789"/>
            <a:ext cx="502001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6" y="4736767"/>
            <a:ext cx="5020018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6410"/>
            <a:ext cx="5022193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4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5022193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3816" y="4817388"/>
            <a:ext cx="5020019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4260963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7" name="Picture Placeholder 11"/>
          <p:cNvSpPr>
            <a:spLocks noGrp="1"/>
          </p:cNvSpPr>
          <p:nvPr>
            <p:ph type="pic" sz="quarter" idx="47"/>
          </p:nvPr>
        </p:nvSpPr>
        <p:spPr>
          <a:xfrm>
            <a:off x="6051329" y="2115789"/>
            <a:ext cx="2308854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48"/>
          </p:nvPr>
        </p:nvSpPr>
        <p:spPr>
          <a:xfrm>
            <a:off x="6051329" y="4736767"/>
            <a:ext cx="230885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Content Placeholder 4"/>
          <p:cNvSpPr>
            <a:spLocks noGrp="1"/>
          </p:cNvSpPr>
          <p:nvPr>
            <p:ph sz="quarter" idx="49" hasCustomPrompt="1"/>
          </p:nvPr>
        </p:nvSpPr>
        <p:spPr>
          <a:xfrm>
            <a:off x="6050329" y="2196410"/>
            <a:ext cx="2309854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6" name="Text Placeholder 10"/>
          <p:cNvSpPr>
            <a:spLocks noGrp="1"/>
          </p:cNvSpPr>
          <p:nvPr>
            <p:ph type="body" sz="quarter" idx="50"/>
          </p:nvPr>
        </p:nvSpPr>
        <p:spPr>
          <a:xfrm>
            <a:off x="6050329" y="1776866"/>
            <a:ext cx="2309854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6050329" y="4817388"/>
            <a:ext cx="16470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52" hasCustomPrompt="1"/>
          </p:nvPr>
        </p:nvSpPr>
        <p:spPr>
          <a:xfrm>
            <a:off x="7696201" y="4817388"/>
            <a:ext cx="66398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54764923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8065008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7" y="2115789"/>
            <a:ext cx="3622309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7" y="4736767"/>
            <a:ext cx="3622309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6410"/>
            <a:ext cx="3623878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8" name="Picture Placeholder 11"/>
          <p:cNvSpPr>
            <a:spLocks noGrp="1"/>
          </p:cNvSpPr>
          <p:nvPr>
            <p:ph type="pic" sz="quarter" idx="41"/>
          </p:nvPr>
        </p:nvSpPr>
        <p:spPr>
          <a:xfrm>
            <a:off x="4737879" y="2115789"/>
            <a:ext cx="362344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9" name="Picture Placeholder 11"/>
          <p:cNvSpPr>
            <a:spLocks noGrp="1"/>
          </p:cNvSpPr>
          <p:nvPr>
            <p:ph type="pic" sz="quarter" idx="42"/>
          </p:nvPr>
        </p:nvSpPr>
        <p:spPr>
          <a:xfrm>
            <a:off x="4737879" y="4736767"/>
            <a:ext cx="362344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Content Placeholder 4"/>
          <p:cNvSpPr>
            <a:spLocks noGrp="1"/>
          </p:cNvSpPr>
          <p:nvPr>
            <p:ph sz="quarter" idx="43" hasCustomPrompt="1"/>
          </p:nvPr>
        </p:nvSpPr>
        <p:spPr>
          <a:xfrm>
            <a:off x="4736307" y="2196410"/>
            <a:ext cx="3625010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3623878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2" name="Text Placeholder 10"/>
          <p:cNvSpPr>
            <a:spLocks noGrp="1"/>
          </p:cNvSpPr>
          <p:nvPr>
            <p:ph type="body" sz="quarter" idx="45"/>
          </p:nvPr>
        </p:nvSpPr>
        <p:spPr>
          <a:xfrm>
            <a:off x="4736307" y="1776866"/>
            <a:ext cx="362501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783815" y="4817389"/>
            <a:ext cx="2665791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3449607" y="4817389"/>
            <a:ext cx="95808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4736306" y="4817389"/>
            <a:ext cx="2665457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7401764" y="4817389"/>
            <a:ext cx="95808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358301882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45"/>
          <p:cNvSpPr>
            <a:spLocks noGrp="1"/>
          </p:cNvSpPr>
          <p:nvPr>
            <p:ph type="body" sz="quarter" idx="136"/>
          </p:nvPr>
        </p:nvSpPr>
        <p:spPr bwMode="auto">
          <a:xfrm>
            <a:off x="3282161" y="1383062"/>
            <a:ext cx="5322342" cy="3753175"/>
          </a:xfrm>
          <a:custGeom>
            <a:avLst/>
            <a:gdLst>
              <a:gd name="connsiteX0" fmla="*/ 0 w 5322342"/>
              <a:gd name="connsiteY0" fmla="*/ 0 h 3753175"/>
              <a:gd name="connsiteX1" fmla="*/ 2742668 w 5322342"/>
              <a:gd name="connsiteY1" fmla="*/ 0 h 3753175"/>
              <a:gd name="connsiteX2" fmla="*/ 3124425 w 5322342"/>
              <a:gd name="connsiteY2" fmla="*/ 0 h 3753175"/>
              <a:gd name="connsiteX3" fmla="*/ 5322342 w 5322342"/>
              <a:gd name="connsiteY3" fmla="*/ 0 h 3753175"/>
              <a:gd name="connsiteX4" fmla="*/ 5322342 w 5322342"/>
              <a:gd name="connsiteY4" fmla="*/ 1942188 h 3753175"/>
              <a:gd name="connsiteX5" fmla="*/ 5322342 w 5322342"/>
              <a:gd name="connsiteY5" fmla="*/ 2112826 h 3753175"/>
              <a:gd name="connsiteX6" fmla="*/ 5322342 w 5322342"/>
              <a:gd name="connsiteY6" fmla="*/ 3753175 h 3753175"/>
              <a:gd name="connsiteX7" fmla="*/ 2889505 w 5322342"/>
              <a:gd name="connsiteY7" fmla="*/ 3753175 h 3753175"/>
              <a:gd name="connsiteX8" fmla="*/ 2742668 w 5322342"/>
              <a:gd name="connsiteY8" fmla="*/ 3753175 h 3753175"/>
              <a:gd name="connsiteX9" fmla="*/ 1 w 5322342"/>
              <a:gd name="connsiteY9" fmla="*/ 3753175 h 3753175"/>
              <a:gd name="connsiteX10" fmla="*/ 1 w 5322342"/>
              <a:gd name="connsiteY10" fmla="*/ 2112826 h 3753175"/>
              <a:gd name="connsiteX11" fmla="*/ 0 w 5322342"/>
              <a:gd name="connsiteY11" fmla="*/ 2112826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2342" h="3753175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942188"/>
                </a:lnTo>
                <a:lnTo>
                  <a:pt x="5322342" y="2112826"/>
                </a:lnTo>
                <a:lnTo>
                  <a:pt x="5322342" y="3753175"/>
                </a:lnTo>
                <a:lnTo>
                  <a:pt x="2889505" y="3753175"/>
                </a:lnTo>
                <a:lnTo>
                  <a:pt x="2742668" y="3753175"/>
                </a:lnTo>
                <a:lnTo>
                  <a:pt x="1" y="3753175"/>
                </a:lnTo>
                <a:lnTo>
                  <a:pt x="1" y="2112826"/>
                </a:lnTo>
                <a:lnTo>
                  <a:pt x="0" y="2112826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Picture Placeholder 11"/>
          <p:cNvSpPr>
            <a:spLocks noGrp="1"/>
          </p:cNvSpPr>
          <p:nvPr>
            <p:ph type="pic" sz="quarter" idx="144"/>
          </p:nvPr>
        </p:nvSpPr>
        <p:spPr>
          <a:xfrm>
            <a:off x="3428733" y="1730648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Text Placeholder 61"/>
          <p:cNvSpPr>
            <a:spLocks noGrp="1"/>
          </p:cNvSpPr>
          <p:nvPr>
            <p:ph type="body" sz="quarter" idx="145"/>
          </p:nvPr>
        </p:nvSpPr>
        <p:spPr bwMode="auto">
          <a:xfrm>
            <a:off x="3428999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7" name="Content Placeholder 46"/>
          <p:cNvSpPr>
            <a:spLocks noGrp="1"/>
          </p:cNvSpPr>
          <p:nvPr>
            <p:ph sz="quarter" idx="151" hasCustomPrompt="1"/>
          </p:nvPr>
        </p:nvSpPr>
        <p:spPr bwMode="auto">
          <a:xfrm>
            <a:off x="3428999" y="1775363"/>
            <a:ext cx="5028668" cy="3066901"/>
          </a:xfrm>
          <a:custGeom>
            <a:avLst/>
            <a:gdLst>
              <a:gd name="connsiteX0" fmla="*/ 0 w 5028668"/>
              <a:gd name="connsiteY0" fmla="*/ 0 h 3066901"/>
              <a:gd name="connsiteX1" fmla="*/ 2742668 w 5028668"/>
              <a:gd name="connsiteY1" fmla="*/ 0 h 3066901"/>
              <a:gd name="connsiteX2" fmla="*/ 2869667 w 5028668"/>
              <a:gd name="connsiteY2" fmla="*/ 0 h 3066901"/>
              <a:gd name="connsiteX3" fmla="*/ 5028668 w 5028668"/>
              <a:gd name="connsiteY3" fmla="*/ 0 h 3066901"/>
              <a:gd name="connsiteX4" fmla="*/ 5028668 w 5028668"/>
              <a:gd name="connsiteY4" fmla="*/ 1942189 h 3066901"/>
              <a:gd name="connsiteX5" fmla="*/ 5028668 w 5028668"/>
              <a:gd name="connsiteY5" fmla="*/ 2163437 h 3066901"/>
              <a:gd name="connsiteX6" fmla="*/ 5028668 w 5028668"/>
              <a:gd name="connsiteY6" fmla="*/ 3066901 h 3066901"/>
              <a:gd name="connsiteX7" fmla="*/ 2869667 w 5028668"/>
              <a:gd name="connsiteY7" fmla="*/ 3066901 h 3066901"/>
              <a:gd name="connsiteX8" fmla="*/ 2742668 w 5028668"/>
              <a:gd name="connsiteY8" fmla="*/ 3066901 h 3066901"/>
              <a:gd name="connsiteX9" fmla="*/ 0 w 5028668"/>
              <a:gd name="connsiteY9" fmla="*/ 3066901 h 3066901"/>
              <a:gd name="connsiteX10" fmla="*/ 0 w 5028668"/>
              <a:gd name="connsiteY10" fmla="*/ 2163437 h 3066901"/>
              <a:gd name="connsiteX11" fmla="*/ 0 w 5028668"/>
              <a:gd name="connsiteY11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028668" h="3066901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942189"/>
                </a:lnTo>
                <a:lnTo>
                  <a:pt x="5028668" y="2163437"/>
                </a:lnTo>
                <a:lnTo>
                  <a:pt x="5028668" y="3066901"/>
                </a:lnTo>
                <a:lnTo>
                  <a:pt x="2869667" y="3066901"/>
                </a:lnTo>
                <a:lnTo>
                  <a:pt x="2742668" y="3066901"/>
                </a:lnTo>
                <a:lnTo>
                  <a:pt x="0" y="3066901"/>
                </a:lnTo>
                <a:lnTo>
                  <a:pt x="0" y="2163437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3" name="Picture Placeholder 11"/>
          <p:cNvSpPr>
            <a:spLocks noGrp="1"/>
          </p:cNvSpPr>
          <p:nvPr>
            <p:ph type="pic" sz="quarter" idx="152"/>
          </p:nvPr>
        </p:nvSpPr>
        <p:spPr>
          <a:xfrm>
            <a:off x="3428733" y="4877835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4" name="Text Placeholder 6"/>
          <p:cNvSpPr>
            <a:spLocks noGrp="1"/>
          </p:cNvSpPr>
          <p:nvPr>
            <p:ph type="body" sz="quarter" idx="153" hasCustomPrompt="1"/>
          </p:nvPr>
        </p:nvSpPr>
        <p:spPr>
          <a:xfrm>
            <a:off x="3428999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154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060689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060689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060689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060689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3" name="Content Placeholder 62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3" y="1775363"/>
            <a:ext cx="2286000" cy="3066901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081307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081307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081307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081307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4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5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6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3930474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39496" y="576072"/>
            <a:ext cx="386819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386819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3868198" cy="363345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7" y="4900914"/>
            <a:ext cx="3381815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6409"/>
            <a:ext cx="3383280" cy="2648981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338328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45"/>
          </p:nvPr>
        </p:nvSpPr>
        <p:spPr>
          <a:xfrm>
            <a:off x="4735578" y="50739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6" name="Picture Placeholder 11"/>
          <p:cNvSpPr>
            <a:spLocks noGrp="1"/>
          </p:cNvSpPr>
          <p:nvPr>
            <p:ph type="pic" sz="quarter" idx="46"/>
          </p:nvPr>
        </p:nvSpPr>
        <p:spPr>
          <a:xfrm>
            <a:off x="4907661" y="88763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47"/>
          </p:nvPr>
        </p:nvSpPr>
        <p:spPr>
          <a:xfrm>
            <a:off x="4906737" y="63860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4906737" y="95230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4906747" y="247846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906737" y="254313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7727110" y="254313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783817" y="4965581"/>
            <a:ext cx="2423727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3207544" y="4965581"/>
            <a:ext cx="95955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0" name="Text Placeholder 14"/>
          <p:cNvSpPr>
            <a:spLocks noGrp="1"/>
          </p:cNvSpPr>
          <p:nvPr>
            <p:ph type="body" sz="quarter" idx="80"/>
          </p:nvPr>
        </p:nvSpPr>
        <p:spPr>
          <a:xfrm>
            <a:off x="4735578" y="292984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Picture Placeholder 11"/>
          <p:cNvSpPr>
            <a:spLocks noGrp="1"/>
          </p:cNvSpPr>
          <p:nvPr>
            <p:ph type="pic" sz="quarter" idx="81"/>
          </p:nvPr>
        </p:nvSpPr>
        <p:spPr>
          <a:xfrm>
            <a:off x="4907661" y="331008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2" name="Text Placeholder 10"/>
          <p:cNvSpPr>
            <a:spLocks noGrp="1"/>
          </p:cNvSpPr>
          <p:nvPr>
            <p:ph type="body" sz="quarter" idx="82"/>
          </p:nvPr>
        </p:nvSpPr>
        <p:spPr>
          <a:xfrm>
            <a:off x="4906737" y="306105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3" name="Content Placeholder 4"/>
          <p:cNvSpPr>
            <a:spLocks noGrp="1"/>
          </p:cNvSpPr>
          <p:nvPr>
            <p:ph sz="quarter" idx="83" hasCustomPrompt="1"/>
          </p:nvPr>
        </p:nvSpPr>
        <p:spPr>
          <a:xfrm>
            <a:off x="4906737" y="337475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4" name="Picture Placeholder 11"/>
          <p:cNvSpPr>
            <a:spLocks noGrp="1"/>
          </p:cNvSpPr>
          <p:nvPr>
            <p:ph type="pic" sz="quarter" idx="84"/>
          </p:nvPr>
        </p:nvSpPr>
        <p:spPr>
          <a:xfrm>
            <a:off x="4906747" y="490091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4906737" y="496558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86" hasCustomPrompt="1"/>
          </p:nvPr>
        </p:nvSpPr>
        <p:spPr>
          <a:xfrm>
            <a:off x="7727110" y="496558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7" y="2115789"/>
            <a:ext cx="3381815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57466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/>
          <p:cNvSpPr>
            <a:spLocks noGrp="1"/>
          </p:cNvSpPr>
          <p:nvPr>
            <p:ph type="body" sz="quarter" idx="45"/>
          </p:nvPr>
        </p:nvSpPr>
        <p:spPr bwMode="auto">
          <a:xfrm>
            <a:off x="4735578" y="507398"/>
            <a:ext cx="3868923" cy="4703497"/>
          </a:xfrm>
          <a:custGeom>
            <a:avLst/>
            <a:gdLst>
              <a:gd name="connsiteX0" fmla="*/ 0 w 3868923"/>
              <a:gd name="connsiteY0" fmla="*/ 0 h 4703497"/>
              <a:gd name="connsiteX1" fmla="*/ 3868923 w 3868923"/>
              <a:gd name="connsiteY1" fmla="*/ 0 h 4703497"/>
              <a:gd name="connsiteX2" fmla="*/ 3868923 w 3868923"/>
              <a:gd name="connsiteY2" fmla="*/ 2566001 h 4703497"/>
              <a:gd name="connsiteX3" fmla="*/ 3868198 w 3868923"/>
              <a:gd name="connsiteY3" fmla="*/ 2566001 h 4703497"/>
              <a:gd name="connsiteX4" fmla="*/ 3868198 w 3868923"/>
              <a:gd name="connsiteY4" fmla="*/ 4703497 h 4703497"/>
              <a:gd name="connsiteX5" fmla="*/ 0 w 3868923"/>
              <a:gd name="connsiteY5" fmla="*/ 4703497 h 4703497"/>
              <a:gd name="connsiteX6" fmla="*/ 0 w 3868923"/>
              <a:gd name="connsiteY6" fmla="*/ 2566001 h 4703497"/>
              <a:gd name="connsiteX7" fmla="*/ 0 w 3868923"/>
              <a:gd name="connsiteY7" fmla="*/ 2414144 h 4703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68923" h="4703497">
                <a:moveTo>
                  <a:pt x="0" y="0"/>
                </a:moveTo>
                <a:lnTo>
                  <a:pt x="3868923" y="0"/>
                </a:lnTo>
                <a:lnTo>
                  <a:pt x="3868923" y="2566001"/>
                </a:lnTo>
                <a:lnTo>
                  <a:pt x="3868198" y="2566001"/>
                </a:lnTo>
                <a:lnTo>
                  <a:pt x="3868198" y="4703497"/>
                </a:lnTo>
                <a:lnTo>
                  <a:pt x="0" y="4703497"/>
                </a:lnTo>
                <a:lnTo>
                  <a:pt x="0" y="2566001"/>
                </a:lnTo>
                <a:lnTo>
                  <a:pt x="0" y="2414144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39496" y="576072"/>
            <a:ext cx="386819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386819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3868198" cy="363345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7" y="2115789"/>
            <a:ext cx="3381815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7" y="4736767"/>
            <a:ext cx="3381815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6410"/>
            <a:ext cx="3383280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338328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783816" y="4817388"/>
            <a:ext cx="2423727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3207544" y="4817388"/>
            <a:ext cx="95955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9" name="Picture Placeholder 11"/>
          <p:cNvSpPr>
            <a:spLocks noGrp="1"/>
          </p:cNvSpPr>
          <p:nvPr>
            <p:ph type="pic" sz="quarter" idx="80"/>
          </p:nvPr>
        </p:nvSpPr>
        <p:spPr>
          <a:xfrm>
            <a:off x="4979899" y="1046092"/>
            <a:ext cx="3381815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Text Placeholder 10"/>
          <p:cNvSpPr>
            <a:spLocks noGrp="1"/>
          </p:cNvSpPr>
          <p:nvPr>
            <p:ph type="body" sz="quarter" idx="81"/>
          </p:nvPr>
        </p:nvSpPr>
        <p:spPr>
          <a:xfrm>
            <a:off x="4979898" y="706823"/>
            <a:ext cx="338328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1" name="Picture Placeholder 11"/>
          <p:cNvSpPr>
            <a:spLocks noGrp="1"/>
          </p:cNvSpPr>
          <p:nvPr>
            <p:ph type="pic" sz="quarter" idx="82"/>
          </p:nvPr>
        </p:nvSpPr>
        <p:spPr>
          <a:xfrm>
            <a:off x="4979168" y="4736421"/>
            <a:ext cx="3381815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Content Placeholder 4"/>
          <p:cNvSpPr>
            <a:spLocks noGrp="1"/>
          </p:cNvSpPr>
          <p:nvPr>
            <p:ph sz="quarter" idx="83" hasCustomPrompt="1"/>
          </p:nvPr>
        </p:nvSpPr>
        <p:spPr>
          <a:xfrm>
            <a:off x="4979167" y="1127059"/>
            <a:ext cx="3383280" cy="3537539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3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4979167" y="4817388"/>
            <a:ext cx="2423727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7402895" y="4817388"/>
            <a:ext cx="95955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65448487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8" name="Text Placeholder 14"/>
          <p:cNvSpPr>
            <a:spLocks noGrp="1"/>
          </p:cNvSpPr>
          <p:nvPr>
            <p:ph type="body" sz="quarter" idx="45"/>
          </p:nvPr>
        </p:nvSpPr>
        <p:spPr>
          <a:xfrm>
            <a:off x="4735578" y="50739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Picture Placeholder 11"/>
          <p:cNvSpPr>
            <a:spLocks noGrp="1"/>
          </p:cNvSpPr>
          <p:nvPr>
            <p:ph type="pic" sz="quarter" idx="46"/>
          </p:nvPr>
        </p:nvSpPr>
        <p:spPr>
          <a:xfrm>
            <a:off x="4907661" y="88763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Text Placeholder 10"/>
          <p:cNvSpPr>
            <a:spLocks noGrp="1"/>
          </p:cNvSpPr>
          <p:nvPr>
            <p:ph type="body" sz="quarter" idx="47"/>
          </p:nvPr>
        </p:nvSpPr>
        <p:spPr>
          <a:xfrm>
            <a:off x="4906737" y="63860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1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4906737" y="95230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2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4906747" y="247846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3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906737" y="254313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7727110" y="254313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5" name="Text Placeholder 14"/>
          <p:cNvSpPr>
            <a:spLocks noGrp="1"/>
          </p:cNvSpPr>
          <p:nvPr>
            <p:ph type="body" sz="quarter" idx="91"/>
          </p:nvPr>
        </p:nvSpPr>
        <p:spPr>
          <a:xfrm>
            <a:off x="4735578" y="292984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6" name="Picture Placeholder 11"/>
          <p:cNvSpPr>
            <a:spLocks noGrp="1"/>
          </p:cNvSpPr>
          <p:nvPr>
            <p:ph type="pic" sz="quarter" idx="92"/>
          </p:nvPr>
        </p:nvSpPr>
        <p:spPr>
          <a:xfrm>
            <a:off x="4907661" y="331008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7" name="Text Placeholder 10"/>
          <p:cNvSpPr>
            <a:spLocks noGrp="1"/>
          </p:cNvSpPr>
          <p:nvPr>
            <p:ph type="body" sz="quarter" idx="93"/>
          </p:nvPr>
        </p:nvSpPr>
        <p:spPr>
          <a:xfrm>
            <a:off x="4906737" y="306105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8" name="Content Placeholder 4"/>
          <p:cNvSpPr>
            <a:spLocks noGrp="1"/>
          </p:cNvSpPr>
          <p:nvPr>
            <p:ph sz="quarter" idx="94" hasCustomPrompt="1"/>
          </p:nvPr>
        </p:nvSpPr>
        <p:spPr>
          <a:xfrm>
            <a:off x="4906737" y="337475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9" name="Picture Placeholder 11"/>
          <p:cNvSpPr>
            <a:spLocks noGrp="1"/>
          </p:cNvSpPr>
          <p:nvPr>
            <p:ph type="pic" sz="quarter" idx="95"/>
          </p:nvPr>
        </p:nvSpPr>
        <p:spPr>
          <a:xfrm>
            <a:off x="4906747" y="490091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96" hasCustomPrompt="1"/>
          </p:nvPr>
        </p:nvSpPr>
        <p:spPr>
          <a:xfrm>
            <a:off x="4906737" y="496558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97" hasCustomPrompt="1"/>
          </p:nvPr>
        </p:nvSpPr>
        <p:spPr>
          <a:xfrm>
            <a:off x="7727110" y="496558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2" name="Text Placeholder 14"/>
          <p:cNvSpPr>
            <a:spLocks noGrp="1"/>
          </p:cNvSpPr>
          <p:nvPr>
            <p:ph type="body" sz="quarter" idx="98"/>
          </p:nvPr>
        </p:nvSpPr>
        <p:spPr>
          <a:xfrm>
            <a:off x="539496" y="50739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3" name="Picture Placeholder 11"/>
          <p:cNvSpPr>
            <a:spLocks noGrp="1"/>
          </p:cNvSpPr>
          <p:nvPr>
            <p:ph type="pic" sz="quarter" idx="99"/>
          </p:nvPr>
        </p:nvSpPr>
        <p:spPr>
          <a:xfrm>
            <a:off x="711418" y="88763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4" name="Text Placeholder 10"/>
          <p:cNvSpPr>
            <a:spLocks noGrp="1"/>
          </p:cNvSpPr>
          <p:nvPr>
            <p:ph type="body" sz="quarter" idx="100"/>
          </p:nvPr>
        </p:nvSpPr>
        <p:spPr>
          <a:xfrm>
            <a:off x="710655" y="63860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5" name="Content Placeholder 4"/>
          <p:cNvSpPr>
            <a:spLocks noGrp="1"/>
          </p:cNvSpPr>
          <p:nvPr>
            <p:ph sz="quarter" idx="101" hasCustomPrompt="1"/>
          </p:nvPr>
        </p:nvSpPr>
        <p:spPr>
          <a:xfrm>
            <a:off x="710655" y="95230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6" name="Picture Placeholder 11"/>
          <p:cNvSpPr>
            <a:spLocks noGrp="1"/>
          </p:cNvSpPr>
          <p:nvPr>
            <p:ph type="pic" sz="quarter" idx="102"/>
          </p:nvPr>
        </p:nvSpPr>
        <p:spPr>
          <a:xfrm>
            <a:off x="710299" y="247846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03" hasCustomPrompt="1"/>
          </p:nvPr>
        </p:nvSpPr>
        <p:spPr>
          <a:xfrm>
            <a:off x="710655" y="254313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8" name="Text Placeholder 6"/>
          <p:cNvSpPr>
            <a:spLocks noGrp="1"/>
          </p:cNvSpPr>
          <p:nvPr>
            <p:ph type="body" sz="quarter" idx="104" hasCustomPrompt="1"/>
          </p:nvPr>
        </p:nvSpPr>
        <p:spPr>
          <a:xfrm>
            <a:off x="3531028" y="254313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9" name="Text Placeholder 14"/>
          <p:cNvSpPr>
            <a:spLocks noGrp="1"/>
          </p:cNvSpPr>
          <p:nvPr>
            <p:ph type="body" sz="quarter" idx="105"/>
          </p:nvPr>
        </p:nvSpPr>
        <p:spPr>
          <a:xfrm>
            <a:off x="539496" y="292984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0" name="Picture Placeholder 11"/>
          <p:cNvSpPr>
            <a:spLocks noGrp="1"/>
          </p:cNvSpPr>
          <p:nvPr>
            <p:ph type="pic" sz="quarter" idx="106"/>
          </p:nvPr>
        </p:nvSpPr>
        <p:spPr>
          <a:xfrm>
            <a:off x="711418" y="331008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1" name="Text Placeholder 10"/>
          <p:cNvSpPr>
            <a:spLocks noGrp="1"/>
          </p:cNvSpPr>
          <p:nvPr>
            <p:ph type="body" sz="quarter" idx="107"/>
          </p:nvPr>
        </p:nvSpPr>
        <p:spPr>
          <a:xfrm>
            <a:off x="710655" y="306105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2" name="Content Placeholder 4"/>
          <p:cNvSpPr>
            <a:spLocks noGrp="1"/>
          </p:cNvSpPr>
          <p:nvPr>
            <p:ph sz="quarter" idx="108" hasCustomPrompt="1"/>
          </p:nvPr>
        </p:nvSpPr>
        <p:spPr>
          <a:xfrm>
            <a:off x="710655" y="337475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83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710299" y="490091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4" name="Text Placeholder 6"/>
          <p:cNvSpPr>
            <a:spLocks noGrp="1"/>
          </p:cNvSpPr>
          <p:nvPr>
            <p:ph type="body" sz="quarter" idx="110" hasCustomPrompt="1"/>
          </p:nvPr>
        </p:nvSpPr>
        <p:spPr>
          <a:xfrm>
            <a:off x="710655" y="496558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5" name="Text Placeholder 6"/>
          <p:cNvSpPr>
            <a:spLocks noGrp="1"/>
          </p:cNvSpPr>
          <p:nvPr>
            <p:ph type="body" sz="quarter" idx="111" hasCustomPrompt="1"/>
          </p:nvPr>
        </p:nvSpPr>
        <p:spPr>
          <a:xfrm>
            <a:off x="3531028" y="496558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34639780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7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8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2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4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5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6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7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11" name="Text Placeholder 110"/>
          <p:cNvSpPr>
            <a:spLocks noGrp="1"/>
          </p:cNvSpPr>
          <p:nvPr>
            <p:ph type="body" sz="quarter" idx="20"/>
          </p:nvPr>
        </p:nvSpPr>
        <p:spPr bwMode="auto">
          <a:xfrm>
            <a:off x="539494" y="1383062"/>
            <a:ext cx="5322342" cy="1810987"/>
          </a:xfrm>
          <a:custGeom>
            <a:avLst/>
            <a:gdLst>
              <a:gd name="connsiteX0" fmla="*/ 0 w 5322342"/>
              <a:gd name="connsiteY0" fmla="*/ 0 h 1810987"/>
              <a:gd name="connsiteX1" fmla="*/ 2742668 w 5322342"/>
              <a:gd name="connsiteY1" fmla="*/ 0 h 1810987"/>
              <a:gd name="connsiteX2" fmla="*/ 3124425 w 5322342"/>
              <a:gd name="connsiteY2" fmla="*/ 0 h 1810987"/>
              <a:gd name="connsiteX3" fmla="*/ 5322342 w 5322342"/>
              <a:gd name="connsiteY3" fmla="*/ 0 h 1810987"/>
              <a:gd name="connsiteX4" fmla="*/ 5322342 w 5322342"/>
              <a:gd name="connsiteY4" fmla="*/ 1810987 h 1810987"/>
              <a:gd name="connsiteX5" fmla="*/ 3124425 w 5322342"/>
              <a:gd name="connsiteY5" fmla="*/ 1810987 h 1810987"/>
              <a:gd name="connsiteX6" fmla="*/ 2742668 w 5322342"/>
              <a:gd name="connsiteY6" fmla="*/ 1810987 h 1810987"/>
              <a:gd name="connsiteX7" fmla="*/ 0 w 5322342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1810987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810987"/>
                </a:lnTo>
                <a:lnTo>
                  <a:pt x="3124425" y="1810987"/>
                </a:lnTo>
                <a:lnTo>
                  <a:pt x="2742668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44"/>
          </p:nvPr>
        </p:nvSpPr>
        <p:spPr bwMode="auto">
          <a:xfrm>
            <a:off x="686331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3" name="Content Placeholder 112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1" y="1775363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86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12" name="Text Placeholder 111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3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16" name="Picture Placeholder 11"/>
          <p:cNvSpPr>
            <a:spLocks noGrp="1"/>
          </p:cNvSpPr>
          <p:nvPr>
            <p:ph type="pic" sz="quarter" idx="143"/>
          </p:nvPr>
        </p:nvSpPr>
        <p:spPr>
          <a:xfrm>
            <a:off x="686066" y="3672836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7" name="Text Placeholder 116"/>
          <p:cNvSpPr>
            <a:spLocks noGrp="1"/>
          </p:cNvSpPr>
          <p:nvPr>
            <p:ph type="body" sz="quarter" idx="144"/>
          </p:nvPr>
        </p:nvSpPr>
        <p:spPr bwMode="auto">
          <a:xfrm>
            <a:off x="686332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8" name="Content Placeholder 117"/>
          <p:cNvSpPr>
            <a:spLocks noGrp="1"/>
          </p:cNvSpPr>
          <p:nvPr>
            <p:ph sz="quarter" idx="145" hasCustomPrompt="1"/>
          </p:nvPr>
        </p:nvSpPr>
        <p:spPr bwMode="auto">
          <a:xfrm>
            <a:off x="686332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19" name="Picture Placeholder 11"/>
          <p:cNvSpPr>
            <a:spLocks noGrp="1"/>
          </p:cNvSpPr>
          <p:nvPr>
            <p:ph type="pic" sz="quarter" idx="146"/>
          </p:nvPr>
        </p:nvSpPr>
        <p:spPr>
          <a:xfrm>
            <a:off x="686066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0" name="Text Placeholder 6"/>
          <p:cNvSpPr>
            <a:spLocks noGrp="1"/>
          </p:cNvSpPr>
          <p:nvPr>
            <p:ph type="body" sz="quarter" idx="147" hasCustomPrompt="1"/>
          </p:nvPr>
        </p:nvSpPr>
        <p:spPr>
          <a:xfrm>
            <a:off x="686332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21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230797453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0" name="Text Placeholder 59"/>
          <p:cNvSpPr>
            <a:spLocks noGrp="1"/>
          </p:cNvSpPr>
          <p:nvPr>
            <p:ph type="body" sz="quarter" idx="20"/>
          </p:nvPr>
        </p:nvSpPr>
        <p:spPr bwMode="auto">
          <a:xfrm>
            <a:off x="539496" y="1383062"/>
            <a:ext cx="8065008" cy="1810987"/>
          </a:xfrm>
          <a:custGeom>
            <a:avLst/>
            <a:gdLst>
              <a:gd name="connsiteX0" fmla="*/ 0 w 8065008"/>
              <a:gd name="connsiteY0" fmla="*/ 0 h 1810987"/>
              <a:gd name="connsiteX1" fmla="*/ 2742666 w 8065008"/>
              <a:gd name="connsiteY1" fmla="*/ 0 h 1810987"/>
              <a:gd name="connsiteX2" fmla="*/ 2889236 w 8065008"/>
              <a:gd name="connsiteY2" fmla="*/ 0 h 1810987"/>
              <a:gd name="connsiteX3" fmla="*/ 5485334 w 8065008"/>
              <a:gd name="connsiteY3" fmla="*/ 0 h 1810987"/>
              <a:gd name="connsiteX4" fmla="*/ 5867091 w 8065008"/>
              <a:gd name="connsiteY4" fmla="*/ 0 h 1810987"/>
              <a:gd name="connsiteX5" fmla="*/ 8065008 w 8065008"/>
              <a:gd name="connsiteY5" fmla="*/ 0 h 1810987"/>
              <a:gd name="connsiteX6" fmla="*/ 8065008 w 8065008"/>
              <a:gd name="connsiteY6" fmla="*/ 1810987 h 1810987"/>
              <a:gd name="connsiteX7" fmla="*/ 5867091 w 8065008"/>
              <a:gd name="connsiteY7" fmla="*/ 1810987 h 1810987"/>
              <a:gd name="connsiteX8" fmla="*/ 5485334 w 8065008"/>
              <a:gd name="connsiteY8" fmla="*/ 1810987 h 1810987"/>
              <a:gd name="connsiteX9" fmla="*/ 2889236 w 8065008"/>
              <a:gd name="connsiteY9" fmla="*/ 1810987 h 1810987"/>
              <a:gd name="connsiteX10" fmla="*/ 2742666 w 8065008"/>
              <a:gd name="connsiteY10" fmla="*/ 1810987 h 1810987"/>
              <a:gd name="connsiteX11" fmla="*/ 0 w 8065008"/>
              <a:gd name="connsiteY11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065008" h="1810987">
                <a:moveTo>
                  <a:pt x="0" y="0"/>
                </a:moveTo>
                <a:lnTo>
                  <a:pt x="2742666" y="0"/>
                </a:lnTo>
                <a:lnTo>
                  <a:pt x="2889236" y="0"/>
                </a:lnTo>
                <a:lnTo>
                  <a:pt x="5485334" y="0"/>
                </a:lnTo>
                <a:lnTo>
                  <a:pt x="5867091" y="0"/>
                </a:lnTo>
                <a:lnTo>
                  <a:pt x="8065008" y="0"/>
                </a:lnTo>
                <a:lnTo>
                  <a:pt x="8065008" y="1810987"/>
                </a:lnTo>
                <a:lnTo>
                  <a:pt x="5867091" y="1810987"/>
                </a:lnTo>
                <a:lnTo>
                  <a:pt x="5485334" y="1810987"/>
                </a:lnTo>
                <a:lnTo>
                  <a:pt x="2889236" y="1810987"/>
                </a:lnTo>
                <a:lnTo>
                  <a:pt x="2742666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77724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Content Placeholder 61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2" y="1775363"/>
            <a:ext cx="7771335" cy="1124712"/>
          </a:xfrm>
          <a:custGeom>
            <a:avLst/>
            <a:gdLst>
              <a:gd name="connsiteX0" fmla="*/ 0 w 7771335"/>
              <a:gd name="connsiteY0" fmla="*/ 0 h 1124712"/>
              <a:gd name="connsiteX1" fmla="*/ 2742667 w 7771335"/>
              <a:gd name="connsiteY1" fmla="*/ 0 h 1124712"/>
              <a:gd name="connsiteX2" fmla="*/ 2847089 w 7771335"/>
              <a:gd name="connsiteY2" fmla="*/ 0 h 1124712"/>
              <a:gd name="connsiteX3" fmla="*/ 5485335 w 7771335"/>
              <a:gd name="connsiteY3" fmla="*/ 0 h 1124712"/>
              <a:gd name="connsiteX4" fmla="*/ 5612334 w 7771335"/>
              <a:gd name="connsiteY4" fmla="*/ 0 h 1124712"/>
              <a:gd name="connsiteX5" fmla="*/ 7771335 w 7771335"/>
              <a:gd name="connsiteY5" fmla="*/ 0 h 1124712"/>
              <a:gd name="connsiteX6" fmla="*/ 7771335 w 7771335"/>
              <a:gd name="connsiteY6" fmla="*/ 1124712 h 1124712"/>
              <a:gd name="connsiteX7" fmla="*/ 5612334 w 7771335"/>
              <a:gd name="connsiteY7" fmla="*/ 1124712 h 1124712"/>
              <a:gd name="connsiteX8" fmla="*/ 5485335 w 7771335"/>
              <a:gd name="connsiteY8" fmla="*/ 1124712 h 1124712"/>
              <a:gd name="connsiteX9" fmla="*/ 2847089 w 7771335"/>
              <a:gd name="connsiteY9" fmla="*/ 1124712 h 1124712"/>
              <a:gd name="connsiteX10" fmla="*/ 2742667 w 7771335"/>
              <a:gd name="connsiteY10" fmla="*/ 1124712 h 1124712"/>
              <a:gd name="connsiteX11" fmla="*/ 0 w 7771335"/>
              <a:gd name="connsiteY11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71335" h="1124712">
                <a:moveTo>
                  <a:pt x="0" y="0"/>
                </a:moveTo>
                <a:lnTo>
                  <a:pt x="2742667" y="0"/>
                </a:lnTo>
                <a:lnTo>
                  <a:pt x="2847089" y="0"/>
                </a:lnTo>
                <a:lnTo>
                  <a:pt x="5485335" y="0"/>
                </a:lnTo>
                <a:lnTo>
                  <a:pt x="5612334" y="0"/>
                </a:lnTo>
                <a:lnTo>
                  <a:pt x="7771335" y="0"/>
                </a:lnTo>
                <a:lnTo>
                  <a:pt x="7771335" y="1124712"/>
                </a:lnTo>
                <a:lnTo>
                  <a:pt x="5612334" y="1124712"/>
                </a:lnTo>
                <a:lnTo>
                  <a:pt x="5485335" y="1124712"/>
                </a:lnTo>
                <a:lnTo>
                  <a:pt x="2847089" y="1124712"/>
                </a:lnTo>
                <a:lnTo>
                  <a:pt x="2742667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77724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0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1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2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3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54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145"/>
          </p:nvPr>
        </p:nvSpPr>
        <p:spPr bwMode="auto">
          <a:xfrm>
            <a:off x="686333" y="1501563"/>
            <a:ext cx="7771334" cy="193514"/>
          </a:xfrm>
          <a:custGeom>
            <a:avLst/>
            <a:gdLst>
              <a:gd name="connsiteX0" fmla="*/ 0 w 7771334"/>
              <a:gd name="connsiteY0" fmla="*/ 0 h 193514"/>
              <a:gd name="connsiteX1" fmla="*/ 2742666 w 7771334"/>
              <a:gd name="connsiteY1" fmla="*/ 0 h 193514"/>
              <a:gd name="connsiteX2" fmla="*/ 2977588 w 7771334"/>
              <a:gd name="connsiteY2" fmla="*/ 0 h 193514"/>
              <a:gd name="connsiteX3" fmla="*/ 5485334 w 7771334"/>
              <a:gd name="connsiteY3" fmla="*/ 0 h 193514"/>
              <a:gd name="connsiteX4" fmla="*/ 5815533 w 7771334"/>
              <a:gd name="connsiteY4" fmla="*/ 0 h 193514"/>
              <a:gd name="connsiteX5" fmla="*/ 7771334 w 7771334"/>
              <a:gd name="connsiteY5" fmla="*/ 0 h 193514"/>
              <a:gd name="connsiteX6" fmla="*/ 7771334 w 7771334"/>
              <a:gd name="connsiteY6" fmla="*/ 193514 h 193514"/>
              <a:gd name="connsiteX7" fmla="*/ 5815533 w 7771334"/>
              <a:gd name="connsiteY7" fmla="*/ 193514 h 193514"/>
              <a:gd name="connsiteX8" fmla="*/ 5485334 w 7771334"/>
              <a:gd name="connsiteY8" fmla="*/ 193514 h 193514"/>
              <a:gd name="connsiteX9" fmla="*/ 2977588 w 7771334"/>
              <a:gd name="connsiteY9" fmla="*/ 193514 h 193514"/>
              <a:gd name="connsiteX10" fmla="*/ 2742666 w 7771334"/>
              <a:gd name="connsiteY10" fmla="*/ 193514 h 193514"/>
              <a:gd name="connsiteX11" fmla="*/ 0 w 7771334"/>
              <a:gd name="connsiteY11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71334" h="193514">
                <a:moveTo>
                  <a:pt x="0" y="0"/>
                </a:moveTo>
                <a:lnTo>
                  <a:pt x="2742666" y="0"/>
                </a:lnTo>
                <a:lnTo>
                  <a:pt x="2977588" y="0"/>
                </a:lnTo>
                <a:lnTo>
                  <a:pt x="5485334" y="0"/>
                </a:lnTo>
                <a:lnTo>
                  <a:pt x="5815533" y="0"/>
                </a:lnTo>
                <a:lnTo>
                  <a:pt x="7771334" y="0"/>
                </a:lnTo>
                <a:lnTo>
                  <a:pt x="7771334" y="193514"/>
                </a:lnTo>
                <a:lnTo>
                  <a:pt x="5815533" y="193514"/>
                </a:lnTo>
                <a:lnTo>
                  <a:pt x="5485334" y="193514"/>
                </a:lnTo>
                <a:lnTo>
                  <a:pt x="2977588" y="193514"/>
                </a:lnTo>
                <a:lnTo>
                  <a:pt x="2742666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48" hasCustomPrompt="1"/>
          </p:nvPr>
        </p:nvSpPr>
        <p:spPr bwMode="auto">
          <a:xfrm>
            <a:off x="686333" y="2980362"/>
            <a:ext cx="7326706" cy="137160"/>
          </a:xfrm>
          <a:custGeom>
            <a:avLst/>
            <a:gdLst>
              <a:gd name="connsiteX0" fmla="*/ 0 w 7326706"/>
              <a:gd name="connsiteY0" fmla="*/ 0 h 137160"/>
              <a:gd name="connsiteX1" fmla="*/ 2742666 w 7326706"/>
              <a:gd name="connsiteY1" fmla="*/ 0 h 137160"/>
              <a:gd name="connsiteX2" fmla="*/ 3047467 w 7326706"/>
              <a:gd name="connsiteY2" fmla="*/ 0 h 137160"/>
              <a:gd name="connsiteX3" fmla="*/ 7326706 w 7326706"/>
              <a:gd name="connsiteY3" fmla="*/ 0 h 137160"/>
              <a:gd name="connsiteX4" fmla="*/ 7326706 w 7326706"/>
              <a:gd name="connsiteY4" fmla="*/ 137160 h 137160"/>
              <a:gd name="connsiteX5" fmla="*/ 3047467 w 7326706"/>
              <a:gd name="connsiteY5" fmla="*/ 137160 h 137160"/>
              <a:gd name="connsiteX6" fmla="*/ 2742666 w 7326706"/>
              <a:gd name="connsiteY6" fmla="*/ 137160 h 137160"/>
              <a:gd name="connsiteX7" fmla="*/ 0 w 7326706"/>
              <a:gd name="connsiteY7" fmla="*/ 137160 h 13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26706" h="137160">
                <a:moveTo>
                  <a:pt x="0" y="0"/>
                </a:moveTo>
                <a:lnTo>
                  <a:pt x="2742666" y="0"/>
                </a:lnTo>
                <a:lnTo>
                  <a:pt x="3047467" y="0"/>
                </a:lnTo>
                <a:lnTo>
                  <a:pt x="7326706" y="0"/>
                </a:lnTo>
                <a:lnTo>
                  <a:pt x="7326706" y="137160"/>
                </a:lnTo>
                <a:lnTo>
                  <a:pt x="3047467" y="137160"/>
                </a:lnTo>
                <a:lnTo>
                  <a:pt x="2742666" y="137160"/>
                </a:lnTo>
                <a:lnTo>
                  <a:pt x="0" y="137160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3" name="Picture Placeholder 11"/>
          <p:cNvSpPr>
            <a:spLocks noGrp="1"/>
          </p:cNvSpPr>
          <p:nvPr>
            <p:ph type="pic" sz="quarter" idx="143"/>
          </p:nvPr>
        </p:nvSpPr>
        <p:spPr>
          <a:xfrm>
            <a:off x="686066" y="3672836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44"/>
          </p:nvPr>
        </p:nvSpPr>
        <p:spPr bwMode="auto">
          <a:xfrm>
            <a:off x="686332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5" name="Content Placeholder 54"/>
          <p:cNvSpPr>
            <a:spLocks noGrp="1"/>
          </p:cNvSpPr>
          <p:nvPr>
            <p:ph sz="quarter" idx="149" hasCustomPrompt="1"/>
          </p:nvPr>
        </p:nvSpPr>
        <p:spPr bwMode="auto">
          <a:xfrm>
            <a:off x="686332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6" name="Picture Placeholder 11"/>
          <p:cNvSpPr>
            <a:spLocks noGrp="1"/>
          </p:cNvSpPr>
          <p:nvPr>
            <p:ph type="pic" sz="quarter" idx="146"/>
          </p:nvPr>
        </p:nvSpPr>
        <p:spPr>
          <a:xfrm>
            <a:off x="686066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147" hasCustomPrompt="1"/>
          </p:nvPr>
        </p:nvSpPr>
        <p:spPr>
          <a:xfrm>
            <a:off x="686332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50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84571026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0" name="Text Placeholder 59"/>
          <p:cNvSpPr>
            <a:spLocks noGrp="1"/>
          </p:cNvSpPr>
          <p:nvPr>
            <p:ph type="body" sz="quarter" idx="20"/>
          </p:nvPr>
        </p:nvSpPr>
        <p:spPr bwMode="auto">
          <a:xfrm>
            <a:off x="539496" y="1383062"/>
            <a:ext cx="8065008" cy="1810987"/>
          </a:xfrm>
          <a:custGeom>
            <a:avLst/>
            <a:gdLst>
              <a:gd name="connsiteX0" fmla="*/ 0 w 8065008"/>
              <a:gd name="connsiteY0" fmla="*/ 0 h 1810987"/>
              <a:gd name="connsiteX1" fmla="*/ 2742666 w 8065008"/>
              <a:gd name="connsiteY1" fmla="*/ 0 h 1810987"/>
              <a:gd name="connsiteX2" fmla="*/ 2889236 w 8065008"/>
              <a:gd name="connsiteY2" fmla="*/ 0 h 1810987"/>
              <a:gd name="connsiteX3" fmla="*/ 5485334 w 8065008"/>
              <a:gd name="connsiteY3" fmla="*/ 0 h 1810987"/>
              <a:gd name="connsiteX4" fmla="*/ 5867091 w 8065008"/>
              <a:gd name="connsiteY4" fmla="*/ 0 h 1810987"/>
              <a:gd name="connsiteX5" fmla="*/ 8065008 w 8065008"/>
              <a:gd name="connsiteY5" fmla="*/ 0 h 1810987"/>
              <a:gd name="connsiteX6" fmla="*/ 8065008 w 8065008"/>
              <a:gd name="connsiteY6" fmla="*/ 1810987 h 1810987"/>
              <a:gd name="connsiteX7" fmla="*/ 5867091 w 8065008"/>
              <a:gd name="connsiteY7" fmla="*/ 1810987 h 1810987"/>
              <a:gd name="connsiteX8" fmla="*/ 5485334 w 8065008"/>
              <a:gd name="connsiteY8" fmla="*/ 1810987 h 1810987"/>
              <a:gd name="connsiteX9" fmla="*/ 2889236 w 8065008"/>
              <a:gd name="connsiteY9" fmla="*/ 1810987 h 1810987"/>
              <a:gd name="connsiteX10" fmla="*/ 2742666 w 8065008"/>
              <a:gd name="connsiteY10" fmla="*/ 1810987 h 1810987"/>
              <a:gd name="connsiteX11" fmla="*/ 0 w 8065008"/>
              <a:gd name="connsiteY11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065008" h="1810987">
                <a:moveTo>
                  <a:pt x="0" y="0"/>
                </a:moveTo>
                <a:lnTo>
                  <a:pt x="2742666" y="0"/>
                </a:lnTo>
                <a:lnTo>
                  <a:pt x="2889236" y="0"/>
                </a:lnTo>
                <a:lnTo>
                  <a:pt x="5485334" y="0"/>
                </a:lnTo>
                <a:lnTo>
                  <a:pt x="5867091" y="0"/>
                </a:lnTo>
                <a:lnTo>
                  <a:pt x="8065008" y="0"/>
                </a:lnTo>
                <a:lnTo>
                  <a:pt x="8065008" y="1810987"/>
                </a:lnTo>
                <a:lnTo>
                  <a:pt x="5867091" y="1810987"/>
                </a:lnTo>
                <a:lnTo>
                  <a:pt x="5485334" y="1810987"/>
                </a:lnTo>
                <a:lnTo>
                  <a:pt x="2889236" y="1810987"/>
                </a:lnTo>
                <a:lnTo>
                  <a:pt x="2742666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77724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Content Placeholder 61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2" y="1775363"/>
            <a:ext cx="7771335" cy="1124712"/>
          </a:xfrm>
          <a:custGeom>
            <a:avLst/>
            <a:gdLst>
              <a:gd name="connsiteX0" fmla="*/ 0 w 7771335"/>
              <a:gd name="connsiteY0" fmla="*/ 0 h 1124712"/>
              <a:gd name="connsiteX1" fmla="*/ 2742667 w 7771335"/>
              <a:gd name="connsiteY1" fmla="*/ 0 h 1124712"/>
              <a:gd name="connsiteX2" fmla="*/ 2847089 w 7771335"/>
              <a:gd name="connsiteY2" fmla="*/ 0 h 1124712"/>
              <a:gd name="connsiteX3" fmla="*/ 5485335 w 7771335"/>
              <a:gd name="connsiteY3" fmla="*/ 0 h 1124712"/>
              <a:gd name="connsiteX4" fmla="*/ 5612334 w 7771335"/>
              <a:gd name="connsiteY4" fmla="*/ 0 h 1124712"/>
              <a:gd name="connsiteX5" fmla="*/ 7771335 w 7771335"/>
              <a:gd name="connsiteY5" fmla="*/ 0 h 1124712"/>
              <a:gd name="connsiteX6" fmla="*/ 7771335 w 7771335"/>
              <a:gd name="connsiteY6" fmla="*/ 1124712 h 1124712"/>
              <a:gd name="connsiteX7" fmla="*/ 5612334 w 7771335"/>
              <a:gd name="connsiteY7" fmla="*/ 1124712 h 1124712"/>
              <a:gd name="connsiteX8" fmla="*/ 5485335 w 7771335"/>
              <a:gd name="connsiteY8" fmla="*/ 1124712 h 1124712"/>
              <a:gd name="connsiteX9" fmla="*/ 2847089 w 7771335"/>
              <a:gd name="connsiteY9" fmla="*/ 1124712 h 1124712"/>
              <a:gd name="connsiteX10" fmla="*/ 2742667 w 7771335"/>
              <a:gd name="connsiteY10" fmla="*/ 1124712 h 1124712"/>
              <a:gd name="connsiteX11" fmla="*/ 0 w 7771335"/>
              <a:gd name="connsiteY11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71335" h="1124712">
                <a:moveTo>
                  <a:pt x="0" y="0"/>
                </a:moveTo>
                <a:lnTo>
                  <a:pt x="2742667" y="0"/>
                </a:lnTo>
                <a:lnTo>
                  <a:pt x="2847089" y="0"/>
                </a:lnTo>
                <a:lnTo>
                  <a:pt x="5485335" y="0"/>
                </a:lnTo>
                <a:lnTo>
                  <a:pt x="5612334" y="0"/>
                </a:lnTo>
                <a:lnTo>
                  <a:pt x="7771335" y="0"/>
                </a:lnTo>
                <a:lnTo>
                  <a:pt x="7771335" y="1124712"/>
                </a:lnTo>
                <a:lnTo>
                  <a:pt x="5612334" y="1124712"/>
                </a:lnTo>
                <a:lnTo>
                  <a:pt x="5485335" y="1124712"/>
                </a:lnTo>
                <a:lnTo>
                  <a:pt x="2847089" y="1124712"/>
                </a:lnTo>
                <a:lnTo>
                  <a:pt x="2742667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77724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145"/>
          </p:nvPr>
        </p:nvSpPr>
        <p:spPr bwMode="auto">
          <a:xfrm>
            <a:off x="686333" y="1501563"/>
            <a:ext cx="7771334" cy="193514"/>
          </a:xfrm>
          <a:custGeom>
            <a:avLst/>
            <a:gdLst>
              <a:gd name="connsiteX0" fmla="*/ 0 w 7771334"/>
              <a:gd name="connsiteY0" fmla="*/ 0 h 193514"/>
              <a:gd name="connsiteX1" fmla="*/ 2742666 w 7771334"/>
              <a:gd name="connsiteY1" fmla="*/ 0 h 193514"/>
              <a:gd name="connsiteX2" fmla="*/ 2977588 w 7771334"/>
              <a:gd name="connsiteY2" fmla="*/ 0 h 193514"/>
              <a:gd name="connsiteX3" fmla="*/ 5485334 w 7771334"/>
              <a:gd name="connsiteY3" fmla="*/ 0 h 193514"/>
              <a:gd name="connsiteX4" fmla="*/ 5815533 w 7771334"/>
              <a:gd name="connsiteY4" fmla="*/ 0 h 193514"/>
              <a:gd name="connsiteX5" fmla="*/ 7771334 w 7771334"/>
              <a:gd name="connsiteY5" fmla="*/ 0 h 193514"/>
              <a:gd name="connsiteX6" fmla="*/ 7771334 w 7771334"/>
              <a:gd name="connsiteY6" fmla="*/ 193514 h 193514"/>
              <a:gd name="connsiteX7" fmla="*/ 5815533 w 7771334"/>
              <a:gd name="connsiteY7" fmla="*/ 193514 h 193514"/>
              <a:gd name="connsiteX8" fmla="*/ 5485334 w 7771334"/>
              <a:gd name="connsiteY8" fmla="*/ 193514 h 193514"/>
              <a:gd name="connsiteX9" fmla="*/ 2977588 w 7771334"/>
              <a:gd name="connsiteY9" fmla="*/ 193514 h 193514"/>
              <a:gd name="connsiteX10" fmla="*/ 2742666 w 7771334"/>
              <a:gd name="connsiteY10" fmla="*/ 193514 h 193514"/>
              <a:gd name="connsiteX11" fmla="*/ 0 w 7771334"/>
              <a:gd name="connsiteY11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71334" h="193514">
                <a:moveTo>
                  <a:pt x="0" y="0"/>
                </a:moveTo>
                <a:lnTo>
                  <a:pt x="2742666" y="0"/>
                </a:lnTo>
                <a:lnTo>
                  <a:pt x="2977588" y="0"/>
                </a:lnTo>
                <a:lnTo>
                  <a:pt x="5485334" y="0"/>
                </a:lnTo>
                <a:lnTo>
                  <a:pt x="5815533" y="0"/>
                </a:lnTo>
                <a:lnTo>
                  <a:pt x="7771334" y="0"/>
                </a:lnTo>
                <a:lnTo>
                  <a:pt x="7771334" y="193514"/>
                </a:lnTo>
                <a:lnTo>
                  <a:pt x="5815533" y="193514"/>
                </a:lnTo>
                <a:lnTo>
                  <a:pt x="5485334" y="193514"/>
                </a:lnTo>
                <a:lnTo>
                  <a:pt x="2977588" y="193514"/>
                </a:lnTo>
                <a:lnTo>
                  <a:pt x="2742666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48" hasCustomPrompt="1"/>
          </p:nvPr>
        </p:nvSpPr>
        <p:spPr bwMode="auto">
          <a:xfrm>
            <a:off x="686333" y="2980362"/>
            <a:ext cx="7326706" cy="137160"/>
          </a:xfrm>
          <a:custGeom>
            <a:avLst/>
            <a:gdLst>
              <a:gd name="connsiteX0" fmla="*/ 0 w 7326706"/>
              <a:gd name="connsiteY0" fmla="*/ 0 h 137160"/>
              <a:gd name="connsiteX1" fmla="*/ 2742666 w 7326706"/>
              <a:gd name="connsiteY1" fmla="*/ 0 h 137160"/>
              <a:gd name="connsiteX2" fmla="*/ 3047467 w 7326706"/>
              <a:gd name="connsiteY2" fmla="*/ 0 h 137160"/>
              <a:gd name="connsiteX3" fmla="*/ 7326706 w 7326706"/>
              <a:gd name="connsiteY3" fmla="*/ 0 h 137160"/>
              <a:gd name="connsiteX4" fmla="*/ 7326706 w 7326706"/>
              <a:gd name="connsiteY4" fmla="*/ 137160 h 137160"/>
              <a:gd name="connsiteX5" fmla="*/ 3047467 w 7326706"/>
              <a:gd name="connsiteY5" fmla="*/ 137160 h 137160"/>
              <a:gd name="connsiteX6" fmla="*/ 2742666 w 7326706"/>
              <a:gd name="connsiteY6" fmla="*/ 137160 h 137160"/>
              <a:gd name="connsiteX7" fmla="*/ 0 w 7326706"/>
              <a:gd name="connsiteY7" fmla="*/ 137160 h 13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26706" h="137160">
                <a:moveTo>
                  <a:pt x="0" y="0"/>
                </a:moveTo>
                <a:lnTo>
                  <a:pt x="2742666" y="0"/>
                </a:lnTo>
                <a:lnTo>
                  <a:pt x="3047467" y="0"/>
                </a:lnTo>
                <a:lnTo>
                  <a:pt x="7326706" y="0"/>
                </a:lnTo>
                <a:lnTo>
                  <a:pt x="7326706" y="137160"/>
                </a:lnTo>
                <a:lnTo>
                  <a:pt x="3047467" y="137160"/>
                </a:lnTo>
                <a:lnTo>
                  <a:pt x="2742666" y="137160"/>
                </a:lnTo>
                <a:lnTo>
                  <a:pt x="0" y="137160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5" name="Text Placeholder 14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6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7" name="Text Placeholder 10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8" name="Content Placeholder 4"/>
          <p:cNvSpPr>
            <a:spLocks noGrp="1"/>
          </p:cNvSpPr>
          <p:nvPr>
            <p:ph sz="quarter" idx="111" hasCustomPrompt="1"/>
          </p:nvPr>
        </p:nvSpPr>
        <p:spPr>
          <a:xfrm>
            <a:off x="686333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9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6"/>
          </p:nvPr>
        </p:nvSpPr>
        <p:spPr bwMode="auto">
          <a:xfrm>
            <a:off x="3282163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4" name="Picture Placeholder 11"/>
          <p:cNvSpPr>
            <a:spLocks noGrp="1"/>
          </p:cNvSpPr>
          <p:nvPr>
            <p:ph type="pic" sz="quarter" idx="143"/>
          </p:nvPr>
        </p:nvSpPr>
        <p:spPr>
          <a:xfrm>
            <a:off x="3428733" y="3672836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44"/>
          </p:nvPr>
        </p:nvSpPr>
        <p:spPr bwMode="auto">
          <a:xfrm>
            <a:off x="3428999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6" name="Content Placeholder 65"/>
          <p:cNvSpPr>
            <a:spLocks noGrp="1"/>
          </p:cNvSpPr>
          <p:nvPr>
            <p:ph sz="quarter" idx="149" hasCustomPrompt="1"/>
          </p:nvPr>
        </p:nvSpPr>
        <p:spPr bwMode="auto">
          <a:xfrm>
            <a:off x="3428999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7" name="Picture Placeholder 11"/>
          <p:cNvSpPr>
            <a:spLocks noGrp="1"/>
          </p:cNvSpPr>
          <p:nvPr>
            <p:ph type="pic" sz="quarter" idx="146"/>
          </p:nvPr>
        </p:nvSpPr>
        <p:spPr>
          <a:xfrm>
            <a:off x="3428733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147" hasCustomPrompt="1"/>
          </p:nvPr>
        </p:nvSpPr>
        <p:spPr>
          <a:xfrm>
            <a:off x="3428999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150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661912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08"/>
          </p:nvPr>
        </p:nvSpPr>
        <p:spPr bwMode="auto">
          <a:xfrm>
            <a:off x="539494" y="3325250"/>
            <a:ext cx="8065010" cy="1810987"/>
          </a:xfrm>
          <a:custGeom>
            <a:avLst/>
            <a:gdLst>
              <a:gd name="connsiteX0" fmla="*/ 0 w 8065010"/>
              <a:gd name="connsiteY0" fmla="*/ 0 h 1810987"/>
              <a:gd name="connsiteX1" fmla="*/ 2842067 w 8065010"/>
              <a:gd name="connsiteY1" fmla="*/ 0 h 1810987"/>
              <a:gd name="connsiteX2" fmla="*/ 2994225 w 8065010"/>
              <a:gd name="connsiteY2" fmla="*/ 0 h 1810987"/>
              <a:gd name="connsiteX3" fmla="*/ 5485336 w 8065010"/>
              <a:gd name="connsiteY3" fmla="*/ 0 h 1810987"/>
              <a:gd name="connsiteX4" fmla="*/ 5515232 w 8065010"/>
              <a:gd name="connsiteY4" fmla="*/ 0 h 1810987"/>
              <a:gd name="connsiteX5" fmla="*/ 8065010 w 8065010"/>
              <a:gd name="connsiteY5" fmla="*/ 0 h 1810987"/>
              <a:gd name="connsiteX6" fmla="*/ 8065010 w 8065010"/>
              <a:gd name="connsiteY6" fmla="*/ 1810987 h 1810987"/>
              <a:gd name="connsiteX7" fmla="*/ 5515232 w 8065010"/>
              <a:gd name="connsiteY7" fmla="*/ 1810987 h 1810987"/>
              <a:gd name="connsiteX8" fmla="*/ 5485336 w 8065010"/>
              <a:gd name="connsiteY8" fmla="*/ 1810987 h 1810987"/>
              <a:gd name="connsiteX9" fmla="*/ 2994225 w 8065010"/>
              <a:gd name="connsiteY9" fmla="*/ 1810987 h 1810987"/>
              <a:gd name="connsiteX10" fmla="*/ 2842067 w 8065010"/>
              <a:gd name="connsiteY10" fmla="*/ 1810987 h 1810987"/>
              <a:gd name="connsiteX11" fmla="*/ 0 w 8065010"/>
              <a:gd name="connsiteY11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065010" h="1810987">
                <a:moveTo>
                  <a:pt x="0" y="0"/>
                </a:moveTo>
                <a:lnTo>
                  <a:pt x="2842067" y="0"/>
                </a:lnTo>
                <a:lnTo>
                  <a:pt x="2994225" y="0"/>
                </a:lnTo>
                <a:lnTo>
                  <a:pt x="5485336" y="0"/>
                </a:lnTo>
                <a:lnTo>
                  <a:pt x="5515232" y="0"/>
                </a:lnTo>
                <a:lnTo>
                  <a:pt x="8065010" y="0"/>
                </a:lnTo>
                <a:lnTo>
                  <a:pt x="8065010" y="1810987"/>
                </a:lnTo>
                <a:lnTo>
                  <a:pt x="5515232" y="1810987"/>
                </a:lnTo>
                <a:lnTo>
                  <a:pt x="5485336" y="1810987"/>
                </a:lnTo>
                <a:lnTo>
                  <a:pt x="2994225" y="1810987"/>
                </a:lnTo>
                <a:lnTo>
                  <a:pt x="28420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8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77724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10"/>
          </p:nvPr>
        </p:nvSpPr>
        <p:spPr bwMode="auto">
          <a:xfrm>
            <a:off x="686332" y="3443751"/>
            <a:ext cx="7771335" cy="193514"/>
          </a:xfrm>
          <a:custGeom>
            <a:avLst/>
            <a:gdLst>
              <a:gd name="connsiteX0" fmla="*/ 0 w 7771335"/>
              <a:gd name="connsiteY0" fmla="*/ 0 h 193514"/>
              <a:gd name="connsiteX1" fmla="*/ 5485335 w 7771335"/>
              <a:gd name="connsiteY1" fmla="*/ 0 h 193514"/>
              <a:gd name="connsiteX2" fmla="*/ 6098289 w 7771335"/>
              <a:gd name="connsiteY2" fmla="*/ 0 h 193514"/>
              <a:gd name="connsiteX3" fmla="*/ 7771335 w 7771335"/>
              <a:gd name="connsiteY3" fmla="*/ 0 h 193514"/>
              <a:gd name="connsiteX4" fmla="*/ 7771335 w 7771335"/>
              <a:gd name="connsiteY4" fmla="*/ 193514 h 193514"/>
              <a:gd name="connsiteX5" fmla="*/ 6098289 w 7771335"/>
              <a:gd name="connsiteY5" fmla="*/ 193514 h 193514"/>
              <a:gd name="connsiteX6" fmla="*/ 5485335 w 7771335"/>
              <a:gd name="connsiteY6" fmla="*/ 193514 h 193514"/>
              <a:gd name="connsiteX7" fmla="*/ 0 w 7771335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71335" h="193514">
                <a:moveTo>
                  <a:pt x="0" y="0"/>
                </a:moveTo>
                <a:lnTo>
                  <a:pt x="5485335" y="0"/>
                </a:lnTo>
                <a:lnTo>
                  <a:pt x="6098289" y="0"/>
                </a:lnTo>
                <a:lnTo>
                  <a:pt x="7771335" y="0"/>
                </a:lnTo>
                <a:lnTo>
                  <a:pt x="7771335" y="193514"/>
                </a:lnTo>
                <a:lnTo>
                  <a:pt x="6098289" y="193514"/>
                </a:lnTo>
                <a:lnTo>
                  <a:pt x="5485335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1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77724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3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7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8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9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8" name="Content Placeholder 67"/>
          <p:cNvSpPr>
            <a:spLocks noGrp="1"/>
          </p:cNvSpPr>
          <p:nvPr>
            <p:ph sz="quarter" idx="139" hasCustomPrompt="1"/>
          </p:nvPr>
        </p:nvSpPr>
        <p:spPr bwMode="auto">
          <a:xfrm>
            <a:off x="686332" y="3717551"/>
            <a:ext cx="7771335" cy="1124712"/>
          </a:xfrm>
          <a:custGeom>
            <a:avLst/>
            <a:gdLst>
              <a:gd name="connsiteX0" fmla="*/ 0 w 7771335"/>
              <a:gd name="connsiteY0" fmla="*/ 0 h 1124712"/>
              <a:gd name="connsiteX1" fmla="*/ 5485335 w 7771335"/>
              <a:gd name="connsiteY1" fmla="*/ 0 h 1124712"/>
              <a:gd name="connsiteX2" fmla="*/ 6098289 w 7771335"/>
              <a:gd name="connsiteY2" fmla="*/ 0 h 1124712"/>
              <a:gd name="connsiteX3" fmla="*/ 7771335 w 7771335"/>
              <a:gd name="connsiteY3" fmla="*/ 0 h 1124712"/>
              <a:gd name="connsiteX4" fmla="*/ 7771335 w 7771335"/>
              <a:gd name="connsiteY4" fmla="*/ 1124712 h 1124712"/>
              <a:gd name="connsiteX5" fmla="*/ 6098289 w 7771335"/>
              <a:gd name="connsiteY5" fmla="*/ 1124712 h 1124712"/>
              <a:gd name="connsiteX6" fmla="*/ 5485335 w 7771335"/>
              <a:gd name="connsiteY6" fmla="*/ 1124712 h 1124712"/>
              <a:gd name="connsiteX7" fmla="*/ 0 w 7771335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71335" h="1124712">
                <a:moveTo>
                  <a:pt x="0" y="0"/>
                </a:moveTo>
                <a:lnTo>
                  <a:pt x="5485335" y="0"/>
                </a:lnTo>
                <a:lnTo>
                  <a:pt x="6098289" y="0"/>
                </a:lnTo>
                <a:lnTo>
                  <a:pt x="7771335" y="0"/>
                </a:lnTo>
                <a:lnTo>
                  <a:pt x="7771335" y="1124712"/>
                </a:lnTo>
                <a:lnTo>
                  <a:pt x="6098289" y="1124712"/>
                </a:lnTo>
                <a:lnTo>
                  <a:pt x="5485335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0" name="Text Placeholder 69"/>
          <p:cNvSpPr>
            <a:spLocks noGrp="1"/>
          </p:cNvSpPr>
          <p:nvPr>
            <p:ph type="body" sz="quarter" idx="141" hasCustomPrompt="1"/>
          </p:nvPr>
        </p:nvSpPr>
        <p:spPr bwMode="auto">
          <a:xfrm>
            <a:off x="686333" y="4922550"/>
            <a:ext cx="7326707" cy="137160"/>
          </a:xfrm>
          <a:custGeom>
            <a:avLst/>
            <a:gdLst>
              <a:gd name="connsiteX0" fmla="*/ 0 w 7326707"/>
              <a:gd name="connsiteY0" fmla="*/ 0 h 137160"/>
              <a:gd name="connsiteX1" fmla="*/ 5485334 w 7326707"/>
              <a:gd name="connsiteY1" fmla="*/ 0 h 137160"/>
              <a:gd name="connsiteX2" fmla="*/ 5581117 w 7326707"/>
              <a:gd name="connsiteY2" fmla="*/ 0 h 137160"/>
              <a:gd name="connsiteX3" fmla="*/ 7326707 w 7326707"/>
              <a:gd name="connsiteY3" fmla="*/ 0 h 137160"/>
              <a:gd name="connsiteX4" fmla="*/ 7326707 w 7326707"/>
              <a:gd name="connsiteY4" fmla="*/ 137160 h 137160"/>
              <a:gd name="connsiteX5" fmla="*/ 5581117 w 7326707"/>
              <a:gd name="connsiteY5" fmla="*/ 137160 h 137160"/>
              <a:gd name="connsiteX6" fmla="*/ 5485334 w 7326707"/>
              <a:gd name="connsiteY6" fmla="*/ 137160 h 137160"/>
              <a:gd name="connsiteX7" fmla="*/ 0 w 7326707"/>
              <a:gd name="connsiteY7" fmla="*/ 137160 h 13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26707" h="137160">
                <a:moveTo>
                  <a:pt x="0" y="0"/>
                </a:moveTo>
                <a:lnTo>
                  <a:pt x="5485334" y="0"/>
                </a:lnTo>
                <a:lnTo>
                  <a:pt x="5581117" y="0"/>
                </a:lnTo>
                <a:lnTo>
                  <a:pt x="7326707" y="0"/>
                </a:lnTo>
                <a:lnTo>
                  <a:pt x="7326707" y="137160"/>
                </a:lnTo>
                <a:lnTo>
                  <a:pt x="5581117" y="137160"/>
                </a:lnTo>
                <a:lnTo>
                  <a:pt x="5485334" y="137160"/>
                </a:lnTo>
                <a:lnTo>
                  <a:pt x="0" y="137160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20"/>
          </p:nvPr>
        </p:nvSpPr>
        <p:spPr bwMode="auto">
          <a:xfrm>
            <a:off x="539494" y="1383062"/>
            <a:ext cx="5322342" cy="1810987"/>
          </a:xfrm>
          <a:custGeom>
            <a:avLst/>
            <a:gdLst>
              <a:gd name="connsiteX0" fmla="*/ 0 w 5322342"/>
              <a:gd name="connsiteY0" fmla="*/ 0 h 1810987"/>
              <a:gd name="connsiteX1" fmla="*/ 2742668 w 5322342"/>
              <a:gd name="connsiteY1" fmla="*/ 0 h 1810987"/>
              <a:gd name="connsiteX2" fmla="*/ 3124425 w 5322342"/>
              <a:gd name="connsiteY2" fmla="*/ 0 h 1810987"/>
              <a:gd name="connsiteX3" fmla="*/ 5322342 w 5322342"/>
              <a:gd name="connsiteY3" fmla="*/ 0 h 1810987"/>
              <a:gd name="connsiteX4" fmla="*/ 5322342 w 5322342"/>
              <a:gd name="connsiteY4" fmla="*/ 1810987 h 1810987"/>
              <a:gd name="connsiteX5" fmla="*/ 3124425 w 5322342"/>
              <a:gd name="connsiteY5" fmla="*/ 1810987 h 1810987"/>
              <a:gd name="connsiteX6" fmla="*/ 2742668 w 5322342"/>
              <a:gd name="connsiteY6" fmla="*/ 1810987 h 1810987"/>
              <a:gd name="connsiteX7" fmla="*/ 0 w 5322342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1810987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810987"/>
                </a:lnTo>
                <a:lnTo>
                  <a:pt x="3124425" y="1810987"/>
                </a:lnTo>
                <a:lnTo>
                  <a:pt x="2742668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44"/>
          </p:nvPr>
        </p:nvSpPr>
        <p:spPr bwMode="auto">
          <a:xfrm>
            <a:off x="686331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5" name="Content Placeholder 54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1" y="1775363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6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1539106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572000" y="3445726"/>
            <a:ext cx="4572000" cy="14855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4" name="Text Placeholder 14"/>
          <p:cNvSpPr txBox="1">
            <a:spLocks/>
          </p:cNvSpPr>
          <p:nvPr userDrawn="1"/>
        </p:nvSpPr>
        <p:spPr bwMode="auto">
          <a:xfrm>
            <a:off x="6905503" y="3626014"/>
            <a:ext cx="1784473" cy="110341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000" kern="0" cap="all" spc="0" baseline="0">
                <a:solidFill>
                  <a:schemeClr val="bg1"/>
                </a:solidFill>
                <a:latin typeface="+mj-lt"/>
                <a:ea typeface="ＭＳ Ｐゴシック" charset="0"/>
                <a:cs typeface="Myriad Pro Light"/>
              </a:defRPr>
            </a:lvl1pPr>
            <a:lvl2pPr marL="0" indent="0" algn="l" defTabSz="809625" rtl="0" eaLnBrk="1" fontAlgn="base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lang="en-US" sz="900" kern="0" spc="0" baseline="0" dirty="0" smtClean="0">
                <a:solidFill>
                  <a:schemeClr val="bg1"/>
                </a:soli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defRPr>
            </a:lvl2pPr>
            <a:lvl3pPr marL="690563" indent="-233363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→"/>
              <a:defRPr lang="en-US" sz="800" kern="0" spc="0" baseline="0" dirty="0">
                <a:solidFill>
                  <a:srgbClr val="6D6E71"/>
                </a:solidFill>
                <a:latin typeface="+mn-lt"/>
                <a:ea typeface="ＭＳ Ｐゴシック" charset="0"/>
                <a:cs typeface="Myriad Pro Light"/>
              </a:defRPr>
            </a:lvl3pPr>
            <a:lvl4pPr marL="914400" indent="-223838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↘"/>
              <a:defRPr lang="en-US" sz="700" kern="0" spc="0" dirty="0">
                <a:solidFill>
                  <a:srgbClr val="808285"/>
                </a:solidFill>
                <a:latin typeface="+mn-lt"/>
                <a:ea typeface="ＭＳ Ｐゴシック" charset="0"/>
                <a:cs typeface="Myriad Pro Light"/>
              </a:defRPr>
            </a:lvl4pPr>
            <a:lvl5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charset="0"/>
              <a:buNone/>
              <a:tabLst/>
              <a:defRPr lang="en-US" sz="1000" kern="0" spc="0">
                <a:solidFill>
                  <a:schemeClr val="bg1"/>
                </a:solidFill>
                <a:latin typeface="+mn-lt"/>
                <a:ea typeface="ＭＳ Ｐゴシック" charset="0"/>
                <a:cs typeface="Myriad Pro Light"/>
              </a:defRPr>
            </a:lvl5pPr>
            <a:lvl6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200" kern="1200">
                <a:solidFill>
                  <a:srgbClr val="414042"/>
                </a:solidFill>
                <a:latin typeface="+mj-lt"/>
                <a:ea typeface="+mn-ea"/>
                <a:cs typeface="+mn-cs"/>
              </a:defRPr>
            </a:lvl6pPr>
            <a:lvl7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rgbClr val="58595B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8pPr>
            <a:lvl9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800" kern="1200">
                <a:solidFill>
                  <a:srgbClr val="A7A9AC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o-RO" b="1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EPINION </a:t>
            </a: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STAVANGER</a:t>
            </a:r>
            <a:endParaRPr lang="ro-RO" b="1" dirty="0">
              <a:latin typeface="Calibri" panose="020F0502020204030204" pitchFamily="34" charset="0"/>
            </a:endParaRP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ro-RO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Klubbgaten 4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ro-RO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4006 Stavanger</a:t>
            </a:r>
            <a:r>
              <a:rPr lang="en-US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, </a:t>
            </a:r>
            <a:r>
              <a:rPr lang="ro-RO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Norway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ro-RO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T: +47 90 17 18 99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ro-RO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E: stavanger@epinion.no</a:t>
            </a:r>
          </a:p>
        </p:txBody>
      </p:sp>
      <p:sp>
        <p:nvSpPr>
          <p:cNvPr id="17" name="Text Placeholder 14"/>
          <p:cNvSpPr txBox="1">
            <a:spLocks/>
          </p:cNvSpPr>
          <p:nvPr userDrawn="1"/>
        </p:nvSpPr>
        <p:spPr bwMode="auto">
          <a:xfrm>
            <a:off x="4829175" y="3626014"/>
            <a:ext cx="1784473" cy="110341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000" kern="0" cap="all" spc="0" baseline="0">
                <a:solidFill>
                  <a:schemeClr val="bg1"/>
                </a:solidFill>
                <a:latin typeface="+mj-lt"/>
                <a:ea typeface="ＭＳ Ｐゴシック" charset="0"/>
                <a:cs typeface="Myriad Pro Light"/>
              </a:defRPr>
            </a:lvl1pPr>
            <a:lvl2pPr marL="0" indent="0" algn="l" defTabSz="809625" rtl="0" eaLnBrk="1" fontAlgn="base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lang="en-US" sz="900" kern="0" spc="0" baseline="0" dirty="0" smtClean="0">
                <a:solidFill>
                  <a:schemeClr val="bg1"/>
                </a:soli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defRPr>
            </a:lvl2pPr>
            <a:lvl3pPr marL="690563" indent="-233363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→"/>
              <a:defRPr lang="en-US" sz="800" kern="0" spc="0" baseline="0" dirty="0">
                <a:solidFill>
                  <a:srgbClr val="6D6E71"/>
                </a:solidFill>
                <a:latin typeface="+mn-lt"/>
                <a:ea typeface="ＭＳ Ｐゴシック" charset="0"/>
                <a:cs typeface="Myriad Pro Light"/>
              </a:defRPr>
            </a:lvl3pPr>
            <a:lvl4pPr marL="914400" indent="-223838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↘"/>
              <a:defRPr lang="en-US" sz="700" kern="0" spc="0" dirty="0">
                <a:solidFill>
                  <a:srgbClr val="808285"/>
                </a:solidFill>
                <a:latin typeface="+mn-lt"/>
                <a:ea typeface="ＭＳ Ｐゴシック" charset="0"/>
                <a:cs typeface="Myriad Pro Light"/>
              </a:defRPr>
            </a:lvl4pPr>
            <a:lvl5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charset="0"/>
              <a:buNone/>
              <a:tabLst/>
              <a:defRPr lang="en-US" sz="1000" kern="0" spc="0">
                <a:solidFill>
                  <a:schemeClr val="bg1"/>
                </a:solidFill>
                <a:latin typeface="+mn-lt"/>
                <a:ea typeface="ＭＳ Ｐゴシック" charset="0"/>
                <a:cs typeface="Myriad Pro Light"/>
              </a:defRPr>
            </a:lvl5pPr>
            <a:lvl6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200" kern="1200">
                <a:solidFill>
                  <a:srgbClr val="414042"/>
                </a:solidFill>
                <a:latin typeface="+mj-lt"/>
                <a:ea typeface="+mn-ea"/>
                <a:cs typeface="+mn-cs"/>
              </a:defRPr>
            </a:lvl6pPr>
            <a:lvl7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rgbClr val="58595B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8pPr>
            <a:lvl9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800" kern="1200">
                <a:solidFill>
                  <a:srgbClr val="A7A9AC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o-RO" b="1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EPINION </a:t>
            </a:r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OSLO</a:t>
            </a:r>
            <a:endParaRPr lang="de-DE" b="1" dirty="0">
              <a:latin typeface="Calibri" panose="020F0502020204030204" pitchFamily="34" charset="0"/>
            </a:endParaRP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de-DE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Biskop Gunnerus Gate 2 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de-DE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0155 Oslo, Norway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de-DE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T: +47 97 11 73 50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de-DE" sz="900" cap="none" dirty="0">
                <a:latin typeface="Calibri" panose="020F0502020204030204" pitchFamily="34" charset="0"/>
                <a:cs typeface="Segoe UI Light" panose="020B0502040204020203" pitchFamily="34" charset="0"/>
              </a:rPr>
              <a:t>E: oslo@epinion.no</a:t>
            </a:r>
            <a:endParaRPr lang="en-US" sz="900" cap="none" dirty="0">
              <a:latin typeface="Calibri" panose="020F0502020204030204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8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4829175" y="4599778"/>
            <a:ext cx="1267976" cy="1754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Myriad Pro Light"/>
              </a:rPr>
              <a:t>www.epinionglobal.com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4829176" y="4568192"/>
            <a:ext cx="4079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9488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ext Placeholder 65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060689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060689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060689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060689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7" name="Content Placeholder 66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3" y="1775363"/>
            <a:ext cx="2286000" cy="3066901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081307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081307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081307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081307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1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5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13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0" name="Text Placeholder 59"/>
          <p:cNvSpPr>
            <a:spLocks noGrp="1"/>
          </p:cNvSpPr>
          <p:nvPr>
            <p:ph type="body" sz="quarter" idx="143"/>
          </p:nvPr>
        </p:nvSpPr>
        <p:spPr bwMode="auto">
          <a:xfrm>
            <a:off x="3282162" y="1383062"/>
            <a:ext cx="5322342" cy="1810987"/>
          </a:xfrm>
          <a:custGeom>
            <a:avLst/>
            <a:gdLst>
              <a:gd name="connsiteX0" fmla="*/ 0 w 5322342"/>
              <a:gd name="connsiteY0" fmla="*/ 0 h 1810987"/>
              <a:gd name="connsiteX1" fmla="*/ 2742668 w 5322342"/>
              <a:gd name="connsiteY1" fmla="*/ 0 h 1810987"/>
              <a:gd name="connsiteX2" fmla="*/ 3124425 w 5322342"/>
              <a:gd name="connsiteY2" fmla="*/ 0 h 1810987"/>
              <a:gd name="connsiteX3" fmla="*/ 5322342 w 5322342"/>
              <a:gd name="connsiteY3" fmla="*/ 0 h 1810987"/>
              <a:gd name="connsiteX4" fmla="*/ 5322342 w 5322342"/>
              <a:gd name="connsiteY4" fmla="*/ 1810987 h 1810987"/>
              <a:gd name="connsiteX5" fmla="*/ 3124425 w 5322342"/>
              <a:gd name="connsiteY5" fmla="*/ 1810987 h 1810987"/>
              <a:gd name="connsiteX6" fmla="*/ 2742668 w 5322342"/>
              <a:gd name="connsiteY6" fmla="*/ 1810987 h 1810987"/>
              <a:gd name="connsiteX7" fmla="*/ 0 w 5322342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1810987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810987"/>
                </a:lnTo>
                <a:lnTo>
                  <a:pt x="3124425" y="1810987"/>
                </a:lnTo>
                <a:lnTo>
                  <a:pt x="2742668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1" name="Picture Placeholder 11"/>
          <p:cNvSpPr>
            <a:spLocks noGrp="1"/>
          </p:cNvSpPr>
          <p:nvPr>
            <p:ph type="pic" sz="quarter" idx="144"/>
          </p:nvPr>
        </p:nvSpPr>
        <p:spPr>
          <a:xfrm>
            <a:off x="3428733" y="1730648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Text Placeholder 61"/>
          <p:cNvSpPr>
            <a:spLocks noGrp="1"/>
          </p:cNvSpPr>
          <p:nvPr>
            <p:ph type="body" sz="quarter" idx="145"/>
          </p:nvPr>
        </p:nvSpPr>
        <p:spPr bwMode="auto">
          <a:xfrm>
            <a:off x="3428999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3" name="Content Placeholder 62"/>
          <p:cNvSpPr>
            <a:spLocks noGrp="1"/>
          </p:cNvSpPr>
          <p:nvPr>
            <p:ph sz="quarter" idx="146" hasCustomPrompt="1"/>
          </p:nvPr>
        </p:nvSpPr>
        <p:spPr bwMode="auto">
          <a:xfrm>
            <a:off x="3428999" y="1775363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4" name="Picture Placeholder 11"/>
          <p:cNvSpPr>
            <a:spLocks noGrp="1"/>
          </p:cNvSpPr>
          <p:nvPr>
            <p:ph type="pic" sz="quarter" idx="147"/>
          </p:nvPr>
        </p:nvSpPr>
        <p:spPr>
          <a:xfrm>
            <a:off x="3428733" y="2935646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3428999" y="2980362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36"/>
          </p:nvPr>
        </p:nvSpPr>
        <p:spPr bwMode="auto">
          <a:xfrm>
            <a:off x="3282163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11"/>
          <p:cNvSpPr>
            <a:spLocks noGrp="1"/>
          </p:cNvSpPr>
          <p:nvPr>
            <p:ph type="pic" sz="quarter" idx="149"/>
          </p:nvPr>
        </p:nvSpPr>
        <p:spPr>
          <a:xfrm>
            <a:off x="3428733" y="3672836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Text Placeholder 70"/>
          <p:cNvSpPr>
            <a:spLocks noGrp="1"/>
          </p:cNvSpPr>
          <p:nvPr>
            <p:ph type="body" sz="quarter" idx="150"/>
          </p:nvPr>
        </p:nvSpPr>
        <p:spPr bwMode="auto">
          <a:xfrm>
            <a:off x="3428999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2" name="Content Placeholder 71"/>
          <p:cNvSpPr>
            <a:spLocks noGrp="1"/>
          </p:cNvSpPr>
          <p:nvPr>
            <p:ph sz="quarter" idx="151" hasCustomPrompt="1"/>
          </p:nvPr>
        </p:nvSpPr>
        <p:spPr bwMode="auto">
          <a:xfrm>
            <a:off x="3428999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3" name="Picture Placeholder 11"/>
          <p:cNvSpPr>
            <a:spLocks noGrp="1"/>
          </p:cNvSpPr>
          <p:nvPr>
            <p:ph type="pic" sz="quarter" idx="152"/>
          </p:nvPr>
        </p:nvSpPr>
        <p:spPr>
          <a:xfrm>
            <a:off x="3428733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4" name="Text Placeholder 6"/>
          <p:cNvSpPr>
            <a:spLocks noGrp="1"/>
          </p:cNvSpPr>
          <p:nvPr>
            <p:ph type="body" sz="quarter" idx="153" hasCustomPrompt="1"/>
          </p:nvPr>
        </p:nvSpPr>
        <p:spPr>
          <a:xfrm>
            <a:off x="3428999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154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7791664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7" y="576072"/>
            <a:ext cx="6418147" cy="456742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0536" y="4742054"/>
            <a:ext cx="5930219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0536" y="1184470"/>
            <a:ext cx="5932788" cy="3491393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3817" y="4817388"/>
            <a:ext cx="4384461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5168278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0536" y="1109135"/>
            <a:ext cx="5930219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0536" y="775498"/>
            <a:ext cx="5932788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1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1" y="775499"/>
            <a:ext cx="1477562" cy="4368000"/>
          </a:xfrm>
        </p:spPr>
        <p:txBody>
          <a:bodyPr/>
          <a:lstStyle>
            <a:lvl1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4839189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23"/>
          </p:nvPr>
        </p:nvSpPr>
        <p:spPr bwMode="auto">
          <a:xfrm>
            <a:off x="539496" y="2924268"/>
            <a:ext cx="6418144" cy="2281046"/>
          </a:xfrm>
          <a:custGeom>
            <a:avLst/>
            <a:gdLst>
              <a:gd name="connsiteX0" fmla="*/ 0 w 6418144"/>
              <a:gd name="connsiteY0" fmla="*/ 0 h 2281046"/>
              <a:gd name="connsiteX1" fmla="*/ 3293720 w 6418144"/>
              <a:gd name="connsiteY1" fmla="*/ 0 h 2281046"/>
              <a:gd name="connsiteX2" fmla="*/ 3466044 w 6418144"/>
              <a:gd name="connsiteY2" fmla="*/ 0 h 2281046"/>
              <a:gd name="connsiteX3" fmla="*/ 6418144 w 6418144"/>
              <a:gd name="connsiteY3" fmla="*/ 0 h 2281046"/>
              <a:gd name="connsiteX4" fmla="*/ 6418144 w 6418144"/>
              <a:gd name="connsiteY4" fmla="*/ 2281046 h 2281046"/>
              <a:gd name="connsiteX5" fmla="*/ 3466044 w 6418144"/>
              <a:gd name="connsiteY5" fmla="*/ 2281046 h 2281046"/>
              <a:gd name="connsiteX6" fmla="*/ 3293720 w 6418144"/>
              <a:gd name="connsiteY6" fmla="*/ 2281046 h 2281046"/>
              <a:gd name="connsiteX7" fmla="*/ 0 w 6418144"/>
              <a:gd name="connsiteY7" fmla="*/ 2281046 h 2281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18144" h="2281046">
                <a:moveTo>
                  <a:pt x="0" y="0"/>
                </a:moveTo>
                <a:lnTo>
                  <a:pt x="3293720" y="0"/>
                </a:lnTo>
                <a:lnTo>
                  <a:pt x="3466044" y="0"/>
                </a:lnTo>
                <a:lnTo>
                  <a:pt x="6418144" y="0"/>
                </a:lnTo>
                <a:lnTo>
                  <a:pt x="6418144" y="2281046"/>
                </a:lnTo>
                <a:lnTo>
                  <a:pt x="3466044" y="2281046"/>
                </a:lnTo>
                <a:lnTo>
                  <a:pt x="3293720" y="2281046"/>
                </a:lnTo>
                <a:lnTo>
                  <a:pt x="0" y="2281046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5" name="Picture Placeholder 11"/>
          <p:cNvSpPr>
            <a:spLocks noGrp="1"/>
          </p:cNvSpPr>
          <p:nvPr>
            <p:ph type="pic" sz="quarter" idx="81"/>
          </p:nvPr>
        </p:nvSpPr>
        <p:spPr>
          <a:xfrm>
            <a:off x="711820" y="3304796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82"/>
          </p:nvPr>
        </p:nvSpPr>
        <p:spPr bwMode="auto">
          <a:xfrm>
            <a:off x="711819" y="3055469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Picture Placeholder 11"/>
          <p:cNvSpPr>
            <a:spLocks noGrp="1"/>
          </p:cNvSpPr>
          <p:nvPr>
            <p:ph type="pic" sz="quarter" idx="83"/>
          </p:nvPr>
        </p:nvSpPr>
        <p:spPr>
          <a:xfrm>
            <a:off x="711820" y="4895694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711819" y="4960650"/>
            <a:ext cx="536726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6079083" y="4960650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2" name="Content Placeholder 41"/>
          <p:cNvSpPr>
            <a:spLocks noGrp="1"/>
          </p:cNvSpPr>
          <p:nvPr>
            <p:ph sz="quarter" idx="86" hasCustomPrompt="1"/>
          </p:nvPr>
        </p:nvSpPr>
        <p:spPr bwMode="auto">
          <a:xfrm>
            <a:off x="711819" y="3369753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3" name="Title 10"/>
          <p:cNvSpPr>
            <a:spLocks noGrp="1"/>
          </p:cNvSpPr>
          <p:nvPr>
            <p:ph type="title"/>
          </p:nvPr>
        </p:nvSpPr>
        <p:spPr>
          <a:xfrm>
            <a:off x="7126939" y="507397"/>
            <a:ext cx="1477565" cy="2047210"/>
          </a:xfrm>
        </p:spPr>
        <p:txBody>
          <a:bodyPr/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26936" y="1943101"/>
            <a:ext cx="1477565" cy="61150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39" y="3055471"/>
            <a:ext cx="1477562" cy="2149845"/>
          </a:xfrm>
        </p:spPr>
        <p:txBody>
          <a:bodyPr/>
          <a:lstStyle>
            <a:lvl1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539497" y="507399"/>
            <a:ext cx="641814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712760" y="247833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6079085" y="2544749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6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712760" y="887764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94"/>
          </p:nvPr>
        </p:nvSpPr>
        <p:spPr bwMode="auto">
          <a:xfrm>
            <a:off x="711820" y="63860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Content Placeholder 37"/>
          <p:cNvSpPr>
            <a:spLocks noGrp="1"/>
          </p:cNvSpPr>
          <p:nvPr>
            <p:ph sz="quarter" idx="96" hasCustomPrompt="1"/>
          </p:nvPr>
        </p:nvSpPr>
        <p:spPr bwMode="auto">
          <a:xfrm>
            <a:off x="711820" y="952558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97" hasCustomPrompt="1"/>
          </p:nvPr>
        </p:nvSpPr>
        <p:spPr>
          <a:xfrm>
            <a:off x="711820" y="2544749"/>
            <a:ext cx="536726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07200626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3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2186357" y="507399"/>
            <a:ext cx="641814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8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2358680" y="247833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2358680" y="2543131"/>
            <a:ext cx="607161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7725944" y="2544749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6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2358681" y="887764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94"/>
          </p:nvPr>
        </p:nvSpPr>
        <p:spPr bwMode="auto">
          <a:xfrm>
            <a:off x="2358680" y="63860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9" name="Content Placeholder 48"/>
          <p:cNvSpPr>
            <a:spLocks noGrp="1"/>
          </p:cNvSpPr>
          <p:nvPr>
            <p:ph sz="quarter" idx="96" hasCustomPrompt="1"/>
          </p:nvPr>
        </p:nvSpPr>
        <p:spPr bwMode="auto">
          <a:xfrm>
            <a:off x="2358680" y="952558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23"/>
          </p:nvPr>
        </p:nvSpPr>
        <p:spPr bwMode="auto">
          <a:xfrm>
            <a:off x="2186357" y="2924270"/>
            <a:ext cx="6418144" cy="2281046"/>
          </a:xfrm>
          <a:custGeom>
            <a:avLst/>
            <a:gdLst>
              <a:gd name="connsiteX0" fmla="*/ 0 w 6418144"/>
              <a:gd name="connsiteY0" fmla="*/ 0 h 2281046"/>
              <a:gd name="connsiteX1" fmla="*/ 3293720 w 6418144"/>
              <a:gd name="connsiteY1" fmla="*/ 0 h 2281046"/>
              <a:gd name="connsiteX2" fmla="*/ 3466044 w 6418144"/>
              <a:gd name="connsiteY2" fmla="*/ 0 h 2281046"/>
              <a:gd name="connsiteX3" fmla="*/ 6418144 w 6418144"/>
              <a:gd name="connsiteY3" fmla="*/ 0 h 2281046"/>
              <a:gd name="connsiteX4" fmla="*/ 6418144 w 6418144"/>
              <a:gd name="connsiteY4" fmla="*/ 2281046 h 2281046"/>
              <a:gd name="connsiteX5" fmla="*/ 3466044 w 6418144"/>
              <a:gd name="connsiteY5" fmla="*/ 2281046 h 2281046"/>
              <a:gd name="connsiteX6" fmla="*/ 3293720 w 6418144"/>
              <a:gd name="connsiteY6" fmla="*/ 2281046 h 2281046"/>
              <a:gd name="connsiteX7" fmla="*/ 0 w 6418144"/>
              <a:gd name="connsiteY7" fmla="*/ 2281046 h 2281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18144" h="2281046">
                <a:moveTo>
                  <a:pt x="0" y="0"/>
                </a:moveTo>
                <a:lnTo>
                  <a:pt x="3293720" y="0"/>
                </a:lnTo>
                <a:lnTo>
                  <a:pt x="3466044" y="0"/>
                </a:lnTo>
                <a:lnTo>
                  <a:pt x="6418144" y="0"/>
                </a:lnTo>
                <a:lnTo>
                  <a:pt x="6418144" y="2281046"/>
                </a:lnTo>
                <a:lnTo>
                  <a:pt x="3466044" y="2281046"/>
                </a:lnTo>
                <a:lnTo>
                  <a:pt x="3293720" y="2281046"/>
                </a:lnTo>
                <a:lnTo>
                  <a:pt x="0" y="2281046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81"/>
          </p:nvPr>
        </p:nvSpPr>
        <p:spPr>
          <a:xfrm>
            <a:off x="2358681" y="3304798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82"/>
          </p:nvPr>
        </p:nvSpPr>
        <p:spPr bwMode="auto">
          <a:xfrm>
            <a:off x="2358680" y="3055471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2" name="Picture Placeholder 11"/>
          <p:cNvSpPr>
            <a:spLocks noGrp="1"/>
          </p:cNvSpPr>
          <p:nvPr>
            <p:ph type="pic" sz="quarter" idx="83"/>
          </p:nvPr>
        </p:nvSpPr>
        <p:spPr>
          <a:xfrm>
            <a:off x="2358681" y="489569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2358680" y="4960652"/>
            <a:ext cx="536726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7725944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5" name="Content Placeholder 34"/>
          <p:cNvSpPr>
            <a:spLocks noGrp="1"/>
          </p:cNvSpPr>
          <p:nvPr>
            <p:ph sz="quarter" idx="86" hasCustomPrompt="1"/>
          </p:nvPr>
        </p:nvSpPr>
        <p:spPr bwMode="auto">
          <a:xfrm>
            <a:off x="2358680" y="3369755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</p:spTree>
    <p:extLst>
      <p:ext uri="{BB962C8B-B14F-4D97-AF65-F5344CB8AC3E}">
        <p14:creationId xmlns:p14="http://schemas.microsoft.com/office/powerpoint/2010/main" val="333008359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23"/>
          </p:nvPr>
        </p:nvSpPr>
        <p:spPr bwMode="auto">
          <a:xfrm>
            <a:off x="2186357" y="507399"/>
            <a:ext cx="6418144" cy="4697917"/>
          </a:xfrm>
          <a:custGeom>
            <a:avLst/>
            <a:gdLst>
              <a:gd name="connsiteX0" fmla="*/ 0 w 6418144"/>
              <a:gd name="connsiteY0" fmla="*/ 0 h 4697917"/>
              <a:gd name="connsiteX1" fmla="*/ 6418143 w 6418144"/>
              <a:gd name="connsiteY1" fmla="*/ 0 h 4697917"/>
              <a:gd name="connsiteX2" fmla="*/ 6418143 w 6418144"/>
              <a:gd name="connsiteY2" fmla="*/ 2416871 h 4697917"/>
              <a:gd name="connsiteX3" fmla="*/ 6418144 w 6418144"/>
              <a:gd name="connsiteY3" fmla="*/ 2416871 h 4697917"/>
              <a:gd name="connsiteX4" fmla="*/ 6418144 w 6418144"/>
              <a:gd name="connsiteY4" fmla="*/ 4697917 h 4697917"/>
              <a:gd name="connsiteX5" fmla="*/ 3466044 w 6418144"/>
              <a:gd name="connsiteY5" fmla="*/ 4697917 h 4697917"/>
              <a:gd name="connsiteX6" fmla="*/ 3293720 w 6418144"/>
              <a:gd name="connsiteY6" fmla="*/ 4697917 h 4697917"/>
              <a:gd name="connsiteX7" fmla="*/ 0 w 6418144"/>
              <a:gd name="connsiteY7" fmla="*/ 4697917 h 4697917"/>
              <a:gd name="connsiteX8" fmla="*/ 0 w 6418144"/>
              <a:gd name="connsiteY8" fmla="*/ 2548072 h 4697917"/>
              <a:gd name="connsiteX9" fmla="*/ 0 w 6418144"/>
              <a:gd name="connsiteY9" fmla="*/ 2416871 h 469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418144" h="4697917">
                <a:moveTo>
                  <a:pt x="0" y="0"/>
                </a:moveTo>
                <a:lnTo>
                  <a:pt x="6418143" y="0"/>
                </a:lnTo>
                <a:lnTo>
                  <a:pt x="6418143" y="2416871"/>
                </a:lnTo>
                <a:lnTo>
                  <a:pt x="6418144" y="2416871"/>
                </a:lnTo>
                <a:lnTo>
                  <a:pt x="6418144" y="4697917"/>
                </a:lnTo>
                <a:lnTo>
                  <a:pt x="3466044" y="4697917"/>
                </a:lnTo>
                <a:lnTo>
                  <a:pt x="3293720" y="4697917"/>
                </a:lnTo>
                <a:lnTo>
                  <a:pt x="0" y="4697917"/>
                </a:lnTo>
                <a:lnTo>
                  <a:pt x="0" y="2548072"/>
                </a:lnTo>
                <a:lnTo>
                  <a:pt x="0" y="2416871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2430320" y="4742054"/>
            <a:ext cx="5930219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2429035" y="1184470"/>
            <a:ext cx="5932788" cy="3491393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2429035" y="4817388"/>
            <a:ext cx="4384461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6816777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2430320" y="1109135"/>
            <a:ext cx="5930219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2429035" y="775498"/>
            <a:ext cx="5932788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37128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23"/>
          </p:nvPr>
        </p:nvSpPr>
        <p:spPr bwMode="auto">
          <a:xfrm>
            <a:off x="539497" y="507399"/>
            <a:ext cx="6418144" cy="4697917"/>
          </a:xfrm>
          <a:custGeom>
            <a:avLst/>
            <a:gdLst>
              <a:gd name="connsiteX0" fmla="*/ 0 w 6418144"/>
              <a:gd name="connsiteY0" fmla="*/ 0 h 4697917"/>
              <a:gd name="connsiteX1" fmla="*/ 6418143 w 6418144"/>
              <a:gd name="connsiteY1" fmla="*/ 0 h 4697917"/>
              <a:gd name="connsiteX2" fmla="*/ 6418143 w 6418144"/>
              <a:gd name="connsiteY2" fmla="*/ 2416871 h 4697917"/>
              <a:gd name="connsiteX3" fmla="*/ 6418144 w 6418144"/>
              <a:gd name="connsiteY3" fmla="*/ 2416871 h 4697917"/>
              <a:gd name="connsiteX4" fmla="*/ 6418144 w 6418144"/>
              <a:gd name="connsiteY4" fmla="*/ 4697917 h 4697917"/>
              <a:gd name="connsiteX5" fmla="*/ 3466044 w 6418144"/>
              <a:gd name="connsiteY5" fmla="*/ 4697917 h 4697917"/>
              <a:gd name="connsiteX6" fmla="*/ 3293720 w 6418144"/>
              <a:gd name="connsiteY6" fmla="*/ 4697917 h 4697917"/>
              <a:gd name="connsiteX7" fmla="*/ 0 w 6418144"/>
              <a:gd name="connsiteY7" fmla="*/ 4697917 h 4697917"/>
              <a:gd name="connsiteX8" fmla="*/ 0 w 6418144"/>
              <a:gd name="connsiteY8" fmla="*/ 2548072 h 4697917"/>
              <a:gd name="connsiteX9" fmla="*/ 0 w 6418144"/>
              <a:gd name="connsiteY9" fmla="*/ 2416871 h 469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418144" h="4697917">
                <a:moveTo>
                  <a:pt x="0" y="0"/>
                </a:moveTo>
                <a:lnTo>
                  <a:pt x="6418143" y="0"/>
                </a:lnTo>
                <a:lnTo>
                  <a:pt x="6418143" y="2416871"/>
                </a:lnTo>
                <a:lnTo>
                  <a:pt x="6418144" y="2416871"/>
                </a:lnTo>
                <a:lnTo>
                  <a:pt x="6418144" y="4697917"/>
                </a:lnTo>
                <a:lnTo>
                  <a:pt x="3466044" y="4697917"/>
                </a:lnTo>
                <a:lnTo>
                  <a:pt x="3293720" y="4697917"/>
                </a:lnTo>
                <a:lnTo>
                  <a:pt x="0" y="4697917"/>
                </a:lnTo>
                <a:lnTo>
                  <a:pt x="0" y="2548072"/>
                </a:lnTo>
                <a:lnTo>
                  <a:pt x="0" y="2416871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7126936" y="507397"/>
            <a:ext cx="1477565" cy="2047210"/>
          </a:xfrm>
        </p:spPr>
        <p:txBody>
          <a:bodyPr/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26936" y="1943101"/>
            <a:ext cx="1477565" cy="61150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39" y="3055471"/>
            <a:ext cx="1477562" cy="2149845"/>
          </a:xfrm>
        </p:spPr>
        <p:txBody>
          <a:bodyPr/>
          <a:lstStyle>
            <a:lvl1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460" y="4742054"/>
            <a:ext cx="5930219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2175" y="1184470"/>
            <a:ext cx="5932788" cy="3491393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2175" y="4817388"/>
            <a:ext cx="4384461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5169917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460" y="1109135"/>
            <a:ext cx="5930219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2175" y="775498"/>
            <a:ext cx="5932788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0905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3868198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7" y="2115147"/>
            <a:ext cx="3381815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7" y="4734839"/>
            <a:ext cx="3381815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5125"/>
            <a:ext cx="3383280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338328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45" hasCustomPrompt="1"/>
          </p:nvPr>
        </p:nvSpPr>
        <p:spPr>
          <a:xfrm>
            <a:off x="4979195" y="1776865"/>
            <a:ext cx="3625309" cy="3366633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783816" y="4814818"/>
            <a:ext cx="2551602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3336151" y="4814818"/>
            <a:ext cx="830945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1445705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5682710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7" y="2115789"/>
            <a:ext cx="5191821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7" y="4736767"/>
            <a:ext cx="5191821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6410"/>
            <a:ext cx="5194070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519407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3818" y="4817388"/>
            <a:ext cx="3649022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4432840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1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471184" y="1776865"/>
            <a:ext cx="2133320" cy="3366633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65753125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2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2358682" y="507397"/>
            <a:ext cx="6071616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3"/>
          </p:nvPr>
        </p:nvSpPr>
        <p:spPr bwMode="auto">
          <a:xfrm>
            <a:off x="2186357" y="2924270"/>
            <a:ext cx="6418144" cy="2281046"/>
          </a:xfrm>
          <a:custGeom>
            <a:avLst/>
            <a:gdLst>
              <a:gd name="connsiteX0" fmla="*/ 0 w 6418144"/>
              <a:gd name="connsiteY0" fmla="*/ 0 h 2281046"/>
              <a:gd name="connsiteX1" fmla="*/ 3293720 w 6418144"/>
              <a:gd name="connsiteY1" fmla="*/ 0 h 2281046"/>
              <a:gd name="connsiteX2" fmla="*/ 3466044 w 6418144"/>
              <a:gd name="connsiteY2" fmla="*/ 0 h 2281046"/>
              <a:gd name="connsiteX3" fmla="*/ 6418144 w 6418144"/>
              <a:gd name="connsiteY3" fmla="*/ 0 h 2281046"/>
              <a:gd name="connsiteX4" fmla="*/ 6418144 w 6418144"/>
              <a:gd name="connsiteY4" fmla="*/ 2281046 h 2281046"/>
              <a:gd name="connsiteX5" fmla="*/ 3466044 w 6418144"/>
              <a:gd name="connsiteY5" fmla="*/ 2281046 h 2281046"/>
              <a:gd name="connsiteX6" fmla="*/ 3293720 w 6418144"/>
              <a:gd name="connsiteY6" fmla="*/ 2281046 h 2281046"/>
              <a:gd name="connsiteX7" fmla="*/ 0 w 6418144"/>
              <a:gd name="connsiteY7" fmla="*/ 2281046 h 2281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18144" h="2281046">
                <a:moveTo>
                  <a:pt x="0" y="0"/>
                </a:moveTo>
                <a:lnTo>
                  <a:pt x="3293720" y="0"/>
                </a:lnTo>
                <a:lnTo>
                  <a:pt x="3466044" y="0"/>
                </a:lnTo>
                <a:lnTo>
                  <a:pt x="6418144" y="0"/>
                </a:lnTo>
                <a:lnTo>
                  <a:pt x="6418144" y="2281046"/>
                </a:lnTo>
                <a:lnTo>
                  <a:pt x="3466044" y="2281046"/>
                </a:lnTo>
                <a:lnTo>
                  <a:pt x="3293720" y="2281046"/>
                </a:lnTo>
                <a:lnTo>
                  <a:pt x="0" y="2281046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1"/>
          <p:cNvSpPr>
            <a:spLocks noGrp="1"/>
          </p:cNvSpPr>
          <p:nvPr>
            <p:ph type="pic" sz="quarter" idx="81"/>
          </p:nvPr>
        </p:nvSpPr>
        <p:spPr>
          <a:xfrm>
            <a:off x="2358681" y="3304798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82"/>
          </p:nvPr>
        </p:nvSpPr>
        <p:spPr bwMode="auto">
          <a:xfrm>
            <a:off x="2358680" y="3055471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83"/>
          </p:nvPr>
        </p:nvSpPr>
        <p:spPr>
          <a:xfrm>
            <a:off x="2358681" y="489569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2358680" y="4960652"/>
            <a:ext cx="536726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7725944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8" name="Content Placeholder 27"/>
          <p:cNvSpPr>
            <a:spLocks noGrp="1"/>
          </p:cNvSpPr>
          <p:nvPr>
            <p:ph sz="quarter" idx="86" hasCustomPrompt="1"/>
          </p:nvPr>
        </p:nvSpPr>
        <p:spPr bwMode="auto">
          <a:xfrm>
            <a:off x="2358680" y="3369755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</p:spTree>
    <p:extLst>
      <p:ext uri="{BB962C8B-B14F-4D97-AF65-F5344CB8AC3E}">
        <p14:creationId xmlns:p14="http://schemas.microsoft.com/office/powerpoint/2010/main" val="202805619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2186357" y="507399"/>
            <a:ext cx="641814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2358680" y="247833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2358680" y="2543131"/>
            <a:ext cx="607161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7725944" y="2544749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2358681" y="887764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94"/>
          </p:nvPr>
        </p:nvSpPr>
        <p:spPr bwMode="auto">
          <a:xfrm>
            <a:off x="2358680" y="63860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96" hasCustomPrompt="1"/>
          </p:nvPr>
        </p:nvSpPr>
        <p:spPr bwMode="auto">
          <a:xfrm>
            <a:off x="2358680" y="952558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2358682" y="3052152"/>
            <a:ext cx="6071616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990831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0" y="3445726"/>
            <a:ext cx="4572000" cy="14855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</a:endParaRPr>
          </a:p>
        </p:txBody>
      </p:sp>
      <p:sp>
        <p:nvSpPr>
          <p:cNvPr id="17" name="Text Placeholder 14"/>
          <p:cNvSpPr txBox="1">
            <a:spLocks/>
          </p:cNvSpPr>
          <p:nvPr userDrawn="1"/>
        </p:nvSpPr>
        <p:spPr bwMode="auto">
          <a:xfrm>
            <a:off x="257174" y="3626014"/>
            <a:ext cx="2719941" cy="110341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1000" kern="0" cap="all" spc="0" baseline="0">
                <a:solidFill>
                  <a:schemeClr val="bg1"/>
                </a:solidFill>
                <a:latin typeface="+mj-lt"/>
                <a:ea typeface="ＭＳ Ｐゴシック" charset="0"/>
                <a:cs typeface="Myriad Pro Light"/>
              </a:defRPr>
            </a:lvl1pPr>
            <a:lvl2pPr marL="0" indent="0" algn="l" defTabSz="809625" rtl="0" eaLnBrk="1" fontAlgn="base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lang="en-US" sz="900" kern="0" spc="0" baseline="0" dirty="0" smtClean="0">
                <a:solidFill>
                  <a:schemeClr val="bg1"/>
                </a:solidFill>
                <a:latin typeface="Segoe UI Light" panose="020B0502040204020203" pitchFamily="34" charset="0"/>
                <a:ea typeface="ＭＳ Ｐゴシック" charset="0"/>
                <a:cs typeface="Segoe UI Light" panose="020B0502040204020203" pitchFamily="34" charset="0"/>
              </a:defRPr>
            </a:lvl2pPr>
            <a:lvl3pPr marL="690563" indent="-233363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→"/>
              <a:defRPr lang="en-US" sz="800" kern="0" spc="0" baseline="0" dirty="0">
                <a:solidFill>
                  <a:srgbClr val="6D6E71"/>
                </a:solidFill>
                <a:latin typeface="+mn-lt"/>
                <a:ea typeface="ＭＳ Ｐゴシック" charset="0"/>
                <a:cs typeface="Myriad Pro Light"/>
              </a:defRPr>
            </a:lvl3pPr>
            <a:lvl4pPr marL="914400" indent="-223838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↘"/>
              <a:defRPr lang="en-US" sz="700" kern="0" spc="0" dirty="0">
                <a:solidFill>
                  <a:srgbClr val="808285"/>
                </a:solidFill>
                <a:latin typeface="+mn-lt"/>
                <a:ea typeface="ＭＳ Ｐゴシック" charset="0"/>
                <a:cs typeface="Myriad Pro Light"/>
              </a:defRPr>
            </a:lvl4pPr>
            <a:lvl5pPr marL="0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charset="0"/>
              <a:buNone/>
              <a:tabLst/>
              <a:defRPr lang="en-US" sz="1000" kern="0" spc="0">
                <a:solidFill>
                  <a:schemeClr val="bg1"/>
                </a:solidFill>
                <a:latin typeface="+mn-lt"/>
                <a:ea typeface="ＭＳ Ｐゴシック" charset="0"/>
                <a:cs typeface="Myriad Pro Light"/>
              </a:defRPr>
            </a:lvl5pPr>
            <a:lvl6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200" kern="1200">
                <a:solidFill>
                  <a:srgbClr val="414042"/>
                </a:solidFill>
                <a:latin typeface="+mj-lt"/>
                <a:ea typeface="+mn-ea"/>
                <a:cs typeface="+mn-cs"/>
              </a:defRPr>
            </a:lvl6pPr>
            <a:lvl7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rgbClr val="58595B"/>
                </a:solidFill>
                <a:latin typeface="+mn-lt"/>
                <a:ea typeface="+mn-ea"/>
                <a:cs typeface="Segoe UI Light" panose="020B0502040204020203" pitchFamily="34" charset="0"/>
              </a:defRPr>
            </a:lvl7pPr>
            <a:lvl8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8pPr>
            <a:lvl9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800" kern="1200">
                <a:solidFill>
                  <a:srgbClr val="A7A9AC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latin typeface="Calibri" panose="020F0502020204030204" pitchFamily="34" charset="0"/>
              </a:rPr>
              <a:t>Epinion</a:t>
            </a:r>
            <a:r>
              <a:rPr lang="en-US" b="1" dirty="0">
                <a:latin typeface="Calibri" panose="020F0502020204030204" pitchFamily="34" charset="0"/>
              </a:rPr>
              <a:t> SAIGON </a:t>
            </a:r>
          </a:p>
          <a:p>
            <a:pPr lvl="1"/>
            <a:r>
              <a:rPr lang="en-US" sz="900" dirty="0">
                <a:latin typeface="Calibri" panose="020F0502020204030204" pitchFamily="34" charset="0"/>
              </a:rPr>
              <a:t>11F, </a:t>
            </a:r>
            <a:r>
              <a:rPr lang="en-US" sz="900" dirty="0" err="1">
                <a:latin typeface="Calibri" panose="020F0502020204030204" pitchFamily="34" charset="0"/>
              </a:rPr>
              <a:t>Dinh</a:t>
            </a:r>
            <a:r>
              <a:rPr lang="en-US" sz="900" dirty="0">
                <a:latin typeface="Calibri" panose="020F0502020204030204" pitchFamily="34" charset="0"/>
              </a:rPr>
              <a:t> Le Building</a:t>
            </a:r>
          </a:p>
          <a:p>
            <a:pPr lvl="1"/>
            <a:r>
              <a:rPr lang="en-US" sz="900" dirty="0">
                <a:latin typeface="Calibri" panose="020F0502020204030204" pitchFamily="34" charset="0"/>
              </a:rPr>
              <a:t>1 </a:t>
            </a:r>
            <a:r>
              <a:rPr lang="en-US" sz="900" dirty="0" err="1">
                <a:latin typeface="Calibri" panose="020F0502020204030204" pitchFamily="34" charset="0"/>
              </a:rPr>
              <a:t>Dinh</a:t>
            </a:r>
            <a:r>
              <a:rPr lang="en-US" sz="900" dirty="0">
                <a:latin typeface="Calibri" panose="020F0502020204030204" pitchFamily="34" charset="0"/>
              </a:rPr>
              <a:t> Le, District 4, Ho Chi Minh City, Vietnam</a:t>
            </a:r>
          </a:p>
          <a:p>
            <a:pPr lvl="1"/>
            <a:r>
              <a:rPr lang="en-US" sz="900" dirty="0">
                <a:latin typeface="Calibri" panose="020F0502020204030204" pitchFamily="34" charset="0"/>
              </a:rPr>
              <a:t>T: +84 38 26 89 89</a:t>
            </a:r>
          </a:p>
          <a:p>
            <a:pPr lvl="1"/>
            <a:r>
              <a:rPr lang="en-US" sz="900" dirty="0">
                <a:latin typeface="Calibri" panose="020F0502020204030204" pitchFamily="34" charset="0"/>
              </a:rPr>
              <a:t>E: hcmc@epinion.v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8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257175" y="4599778"/>
            <a:ext cx="1267976" cy="1754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Myriad Pro Light"/>
              </a:rPr>
              <a:t>www.epinionglobal.com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57176" y="4568192"/>
            <a:ext cx="407912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184016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r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r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r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r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r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r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2186357" y="507399"/>
            <a:ext cx="6418143" cy="301473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2356800" y="3207143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2356800" y="3272914"/>
            <a:ext cx="607161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7724064" y="327453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2358681" y="888740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94"/>
          </p:nvPr>
        </p:nvSpPr>
        <p:spPr bwMode="auto">
          <a:xfrm>
            <a:off x="2358680" y="63860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96" hasCustomPrompt="1"/>
          </p:nvPr>
        </p:nvSpPr>
        <p:spPr bwMode="auto">
          <a:xfrm>
            <a:off x="2358680" y="954510"/>
            <a:ext cx="6073497" cy="2196007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2358682" y="3729234"/>
            <a:ext cx="6071616" cy="1476081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54060703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7126935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26935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38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539497" y="507399"/>
            <a:ext cx="6418143" cy="301473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712760" y="3207143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712760" y="3272914"/>
            <a:ext cx="607161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6079085" y="327453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712760" y="888740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94"/>
          </p:nvPr>
        </p:nvSpPr>
        <p:spPr bwMode="auto">
          <a:xfrm>
            <a:off x="711820" y="63860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96" hasCustomPrompt="1"/>
          </p:nvPr>
        </p:nvSpPr>
        <p:spPr bwMode="auto">
          <a:xfrm>
            <a:off x="711820" y="954510"/>
            <a:ext cx="6073497" cy="2196007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711820" y="3729234"/>
            <a:ext cx="6073497" cy="1476081"/>
          </a:xfrm>
        </p:spPr>
        <p:txBody>
          <a:bodyPr/>
          <a:lstStyle>
            <a:lvl1pPr algn="l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61655028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2186357" y="1112140"/>
            <a:ext cx="6418143" cy="3490721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2360561" y="428868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2360561" y="4354456"/>
            <a:ext cx="607161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7727825" y="4356074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2360562" y="1493483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94"/>
          </p:nvPr>
        </p:nvSpPr>
        <p:spPr bwMode="auto">
          <a:xfrm>
            <a:off x="2360561" y="1243343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96" hasCustomPrompt="1"/>
          </p:nvPr>
        </p:nvSpPr>
        <p:spPr bwMode="auto">
          <a:xfrm>
            <a:off x="2360561" y="1559253"/>
            <a:ext cx="6073497" cy="2672807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950904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26935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38" y="3055471"/>
            <a:ext cx="1477562" cy="2149845"/>
          </a:xfrm>
        </p:spPr>
        <p:txBody>
          <a:bodyPr/>
          <a:lstStyle>
            <a:lvl1pPr algn="r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r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r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r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r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539497" y="1112140"/>
            <a:ext cx="6418143" cy="3490721"/>
          </a:xfrm>
          <a:solidFill>
            <a:srgbClr val="F1F1F2"/>
          </a:solidFill>
        </p:spPr>
        <p:txBody>
          <a:bodyPr/>
          <a:lstStyle>
            <a:lvl1pPr algn="l"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712760" y="428868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712760" y="4354456"/>
            <a:ext cx="607161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6079085" y="4356074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712760" y="1493483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94"/>
          </p:nvPr>
        </p:nvSpPr>
        <p:spPr bwMode="auto">
          <a:xfrm>
            <a:off x="711820" y="1243343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96" hasCustomPrompt="1"/>
          </p:nvPr>
        </p:nvSpPr>
        <p:spPr bwMode="auto">
          <a:xfrm>
            <a:off x="711820" y="1559253"/>
            <a:ext cx="6073497" cy="2672807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7126935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27306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2186357" y="1451867"/>
            <a:ext cx="6418143" cy="3490721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2360561" y="4628413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2360561" y="4694183"/>
            <a:ext cx="5367528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7727825" y="469580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2360562" y="1833210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94"/>
          </p:nvPr>
        </p:nvSpPr>
        <p:spPr bwMode="auto">
          <a:xfrm>
            <a:off x="2360561" y="158307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96" hasCustomPrompt="1"/>
          </p:nvPr>
        </p:nvSpPr>
        <p:spPr bwMode="auto">
          <a:xfrm>
            <a:off x="2360561" y="1898980"/>
            <a:ext cx="6073497" cy="2672807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6356" y="576072"/>
            <a:ext cx="6418147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1810808"/>
            <a:ext cx="1477565" cy="2672807"/>
          </a:xfrm>
        </p:spPr>
        <p:txBody>
          <a:bodyPr t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65413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539496" y="1451867"/>
            <a:ext cx="6418143" cy="3490721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6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712759" y="4628413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712758" y="4694182"/>
            <a:ext cx="5366325" cy="13877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6079084" y="469580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2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712759" y="1833210"/>
            <a:ext cx="6071616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94"/>
          </p:nvPr>
        </p:nvSpPr>
        <p:spPr bwMode="auto">
          <a:xfrm>
            <a:off x="711819" y="158307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Content Placeholder 37"/>
          <p:cNvSpPr>
            <a:spLocks noGrp="1"/>
          </p:cNvSpPr>
          <p:nvPr>
            <p:ph sz="quarter" idx="96" hasCustomPrompt="1"/>
          </p:nvPr>
        </p:nvSpPr>
        <p:spPr bwMode="auto">
          <a:xfrm>
            <a:off x="711819" y="1898980"/>
            <a:ext cx="6073497" cy="2672807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6418143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26938" y="1810808"/>
            <a:ext cx="1477565" cy="2672807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401287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 bwMode="auto">
          <a:xfrm>
            <a:off x="539494" y="1383062"/>
            <a:ext cx="5322342" cy="1810987"/>
          </a:xfrm>
          <a:custGeom>
            <a:avLst/>
            <a:gdLst>
              <a:gd name="connsiteX0" fmla="*/ 0 w 5322342"/>
              <a:gd name="connsiteY0" fmla="*/ 0 h 1810987"/>
              <a:gd name="connsiteX1" fmla="*/ 2742668 w 5322342"/>
              <a:gd name="connsiteY1" fmla="*/ 0 h 1810987"/>
              <a:gd name="connsiteX2" fmla="*/ 3124425 w 5322342"/>
              <a:gd name="connsiteY2" fmla="*/ 0 h 1810987"/>
              <a:gd name="connsiteX3" fmla="*/ 5322342 w 5322342"/>
              <a:gd name="connsiteY3" fmla="*/ 0 h 1810987"/>
              <a:gd name="connsiteX4" fmla="*/ 5322342 w 5322342"/>
              <a:gd name="connsiteY4" fmla="*/ 1810987 h 1810987"/>
              <a:gd name="connsiteX5" fmla="*/ 3124425 w 5322342"/>
              <a:gd name="connsiteY5" fmla="*/ 1810987 h 1810987"/>
              <a:gd name="connsiteX6" fmla="*/ 2742668 w 5322342"/>
              <a:gd name="connsiteY6" fmla="*/ 1810987 h 1810987"/>
              <a:gd name="connsiteX7" fmla="*/ 0 w 5322342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1810987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810987"/>
                </a:lnTo>
                <a:lnTo>
                  <a:pt x="3124425" y="1810987"/>
                </a:lnTo>
                <a:lnTo>
                  <a:pt x="2742668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4"/>
          </p:nvPr>
        </p:nvSpPr>
        <p:spPr bwMode="auto">
          <a:xfrm>
            <a:off x="686331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1" y="1775363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3"/>
          </p:nvPr>
        </p:nvSpPr>
        <p:spPr>
          <a:xfrm>
            <a:off x="686066" y="3672836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4"/>
          </p:nvPr>
        </p:nvSpPr>
        <p:spPr bwMode="auto">
          <a:xfrm>
            <a:off x="686332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9" hasCustomPrompt="1"/>
          </p:nvPr>
        </p:nvSpPr>
        <p:spPr bwMode="auto">
          <a:xfrm>
            <a:off x="686332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46"/>
          </p:nvPr>
        </p:nvSpPr>
        <p:spPr>
          <a:xfrm>
            <a:off x="686066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7" hasCustomPrompt="1"/>
          </p:nvPr>
        </p:nvSpPr>
        <p:spPr>
          <a:xfrm>
            <a:off x="686332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0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299045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71886104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6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43"/>
          </p:nvPr>
        </p:nvSpPr>
        <p:spPr bwMode="auto">
          <a:xfrm>
            <a:off x="3282162" y="1383062"/>
            <a:ext cx="5322342" cy="1810987"/>
          </a:xfrm>
          <a:custGeom>
            <a:avLst/>
            <a:gdLst>
              <a:gd name="connsiteX0" fmla="*/ 0 w 5322342"/>
              <a:gd name="connsiteY0" fmla="*/ 0 h 1810987"/>
              <a:gd name="connsiteX1" fmla="*/ 2742668 w 5322342"/>
              <a:gd name="connsiteY1" fmla="*/ 0 h 1810987"/>
              <a:gd name="connsiteX2" fmla="*/ 3124425 w 5322342"/>
              <a:gd name="connsiteY2" fmla="*/ 0 h 1810987"/>
              <a:gd name="connsiteX3" fmla="*/ 5322342 w 5322342"/>
              <a:gd name="connsiteY3" fmla="*/ 0 h 1810987"/>
              <a:gd name="connsiteX4" fmla="*/ 5322342 w 5322342"/>
              <a:gd name="connsiteY4" fmla="*/ 1810987 h 1810987"/>
              <a:gd name="connsiteX5" fmla="*/ 3124425 w 5322342"/>
              <a:gd name="connsiteY5" fmla="*/ 1810987 h 1810987"/>
              <a:gd name="connsiteX6" fmla="*/ 2742668 w 5322342"/>
              <a:gd name="connsiteY6" fmla="*/ 1810987 h 1810987"/>
              <a:gd name="connsiteX7" fmla="*/ 0 w 5322342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1810987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810987"/>
                </a:lnTo>
                <a:lnTo>
                  <a:pt x="3124425" y="1810987"/>
                </a:lnTo>
                <a:lnTo>
                  <a:pt x="2742668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144"/>
          </p:nvPr>
        </p:nvSpPr>
        <p:spPr>
          <a:xfrm>
            <a:off x="3428733" y="1730648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45"/>
          </p:nvPr>
        </p:nvSpPr>
        <p:spPr bwMode="auto">
          <a:xfrm>
            <a:off x="3428999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46" hasCustomPrompt="1"/>
          </p:nvPr>
        </p:nvSpPr>
        <p:spPr bwMode="auto">
          <a:xfrm>
            <a:off x="3428999" y="1775363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5" name="Picture Placeholder 11"/>
          <p:cNvSpPr>
            <a:spLocks noGrp="1"/>
          </p:cNvSpPr>
          <p:nvPr>
            <p:ph type="pic" sz="quarter" idx="147"/>
          </p:nvPr>
        </p:nvSpPr>
        <p:spPr>
          <a:xfrm>
            <a:off x="3428733" y="2935646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3428999" y="2980362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6"/>
          </p:nvPr>
        </p:nvSpPr>
        <p:spPr bwMode="auto">
          <a:xfrm>
            <a:off x="3282163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1"/>
          <p:cNvSpPr>
            <a:spLocks noGrp="1"/>
          </p:cNvSpPr>
          <p:nvPr>
            <p:ph type="pic" sz="quarter" idx="149"/>
          </p:nvPr>
        </p:nvSpPr>
        <p:spPr>
          <a:xfrm>
            <a:off x="3428733" y="3672836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50"/>
          </p:nvPr>
        </p:nvSpPr>
        <p:spPr bwMode="auto">
          <a:xfrm>
            <a:off x="3428999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51" hasCustomPrompt="1"/>
          </p:nvPr>
        </p:nvSpPr>
        <p:spPr bwMode="auto">
          <a:xfrm>
            <a:off x="3428999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2" name="Picture Placeholder 11"/>
          <p:cNvSpPr>
            <a:spLocks noGrp="1"/>
          </p:cNvSpPr>
          <p:nvPr>
            <p:ph type="pic" sz="quarter" idx="152"/>
          </p:nvPr>
        </p:nvSpPr>
        <p:spPr>
          <a:xfrm>
            <a:off x="3428733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53" hasCustomPrompt="1"/>
          </p:nvPr>
        </p:nvSpPr>
        <p:spPr>
          <a:xfrm>
            <a:off x="3428999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154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36294895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7" name="Text Placeholder 14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8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9" name="Text Placeholder 10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0" name="Content Placeholder 4"/>
          <p:cNvSpPr>
            <a:spLocks noGrp="1"/>
          </p:cNvSpPr>
          <p:nvPr>
            <p:ph sz="quarter" idx="111" hasCustomPrompt="1"/>
          </p:nvPr>
        </p:nvSpPr>
        <p:spPr>
          <a:xfrm>
            <a:off x="686333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11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13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8" name="Content Placeholder 56"/>
          <p:cNvSpPr>
            <a:spLocks noGrp="1"/>
          </p:cNvSpPr>
          <p:nvPr>
            <p:ph sz="quarter" idx="115" hasCustomPrompt="1"/>
          </p:nvPr>
        </p:nvSpPr>
        <p:spPr bwMode="auto">
          <a:xfrm>
            <a:off x="3396996" y="3439509"/>
            <a:ext cx="5092645" cy="1620201"/>
          </a:xfrm>
          <a:custGeom>
            <a:avLst/>
            <a:gdLst>
              <a:gd name="connsiteX0" fmla="*/ 0 w 5092645"/>
              <a:gd name="connsiteY0" fmla="*/ 0 h 1638537"/>
              <a:gd name="connsiteX1" fmla="*/ 2742666 w 5092645"/>
              <a:gd name="connsiteY1" fmla="*/ 0 h 1638537"/>
              <a:gd name="connsiteX2" fmla="*/ 3297315 w 5092645"/>
              <a:gd name="connsiteY2" fmla="*/ 0 h 1638537"/>
              <a:gd name="connsiteX3" fmla="*/ 5092645 w 5092645"/>
              <a:gd name="connsiteY3" fmla="*/ 0 h 1638537"/>
              <a:gd name="connsiteX4" fmla="*/ 5092645 w 5092645"/>
              <a:gd name="connsiteY4" fmla="*/ 1638537 h 1638537"/>
              <a:gd name="connsiteX5" fmla="*/ 3297315 w 5092645"/>
              <a:gd name="connsiteY5" fmla="*/ 1638537 h 1638537"/>
              <a:gd name="connsiteX6" fmla="*/ 2742666 w 5092645"/>
              <a:gd name="connsiteY6" fmla="*/ 1638537 h 1638537"/>
              <a:gd name="connsiteX7" fmla="*/ 0 w 5092645"/>
              <a:gd name="connsiteY7" fmla="*/ 1638537 h 163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92645" h="1638537">
                <a:moveTo>
                  <a:pt x="0" y="0"/>
                </a:moveTo>
                <a:lnTo>
                  <a:pt x="2742666" y="0"/>
                </a:lnTo>
                <a:lnTo>
                  <a:pt x="3297315" y="0"/>
                </a:lnTo>
                <a:lnTo>
                  <a:pt x="5092645" y="0"/>
                </a:lnTo>
                <a:lnTo>
                  <a:pt x="5092645" y="1638537"/>
                </a:lnTo>
                <a:lnTo>
                  <a:pt x="3297315" y="1638537"/>
                </a:lnTo>
                <a:lnTo>
                  <a:pt x="2742666" y="1638537"/>
                </a:lnTo>
                <a:lnTo>
                  <a:pt x="0" y="1638537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9" name="Content Placeholder 57"/>
          <p:cNvSpPr>
            <a:spLocks noGrp="1"/>
          </p:cNvSpPr>
          <p:nvPr>
            <p:ph sz="quarter" idx="116" hasCustomPrompt="1"/>
          </p:nvPr>
        </p:nvSpPr>
        <p:spPr bwMode="auto">
          <a:xfrm>
            <a:off x="3396996" y="1501563"/>
            <a:ext cx="5092645" cy="1615959"/>
          </a:xfrm>
          <a:custGeom>
            <a:avLst/>
            <a:gdLst>
              <a:gd name="connsiteX0" fmla="*/ 0 w 5092645"/>
              <a:gd name="connsiteY0" fmla="*/ 0 h 1638537"/>
              <a:gd name="connsiteX1" fmla="*/ 2742666 w 5092645"/>
              <a:gd name="connsiteY1" fmla="*/ 0 h 1638537"/>
              <a:gd name="connsiteX2" fmla="*/ 3297315 w 5092645"/>
              <a:gd name="connsiteY2" fmla="*/ 0 h 1638537"/>
              <a:gd name="connsiteX3" fmla="*/ 5092645 w 5092645"/>
              <a:gd name="connsiteY3" fmla="*/ 0 h 1638537"/>
              <a:gd name="connsiteX4" fmla="*/ 5092645 w 5092645"/>
              <a:gd name="connsiteY4" fmla="*/ 1638537 h 1638537"/>
              <a:gd name="connsiteX5" fmla="*/ 3297315 w 5092645"/>
              <a:gd name="connsiteY5" fmla="*/ 1638537 h 1638537"/>
              <a:gd name="connsiteX6" fmla="*/ 2742666 w 5092645"/>
              <a:gd name="connsiteY6" fmla="*/ 1638537 h 1638537"/>
              <a:gd name="connsiteX7" fmla="*/ 0 w 5092645"/>
              <a:gd name="connsiteY7" fmla="*/ 1638537 h 163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92645" h="1638537">
                <a:moveTo>
                  <a:pt x="0" y="0"/>
                </a:moveTo>
                <a:lnTo>
                  <a:pt x="2742666" y="0"/>
                </a:lnTo>
                <a:lnTo>
                  <a:pt x="3297315" y="0"/>
                </a:lnTo>
                <a:lnTo>
                  <a:pt x="5092645" y="0"/>
                </a:lnTo>
                <a:lnTo>
                  <a:pt x="5092645" y="1638537"/>
                </a:lnTo>
                <a:lnTo>
                  <a:pt x="3297315" y="1638537"/>
                </a:lnTo>
                <a:lnTo>
                  <a:pt x="2742666" y="1638537"/>
                </a:lnTo>
                <a:lnTo>
                  <a:pt x="0" y="1638537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727144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3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7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8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9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50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1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2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3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54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6" name="Content Placeholder 56"/>
          <p:cNvSpPr>
            <a:spLocks noGrp="1"/>
          </p:cNvSpPr>
          <p:nvPr>
            <p:ph sz="quarter" idx="109" hasCustomPrompt="1"/>
          </p:nvPr>
        </p:nvSpPr>
        <p:spPr bwMode="auto">
          <a:xfrm>
            <a:off x="539496" y="3443751"/>
            <a:ext cx="5092645" cy="1615959"/>
          </a:xfrm>
          <a:custGeom>
            <a:avLst/>
            <a:gdLst>
              <a:gd name="connsiteX0" fmla="*/ 0 w 5092645"/>
              <a:gd name="connsiteY0" fmla="*/ 0 h 1638537"/>
              <a:gd name="connsiteX1" fmla="*/ 2742666 w 5092645"/>
              <a:gd name="connsiteY1" fmla="*/ 0 h 1638537"/>
              <a:gd name="connsiteX2" fmla="*/ 3297315 w 5092645"/>
              <a:gd name="connsiteY2" fmla="*/ 0 h 1638537"/>
              <a:gd name="connsiteX3" fmla="*/ 5092645 w 5092645"/>
              <a:gd name="connsiteY3" fmla="*/ 0 h 1638537"/>
              <a:gd name="connsiteX4" fmla="*/ 5092645 w 5092645"/>
              <a:gd name="connsiteY4" fmla="*/ 1638537 h 1638537"/>
              <a:gd name="connsiteX5" fmla="*/ 3297315 w 5092645"/>
              <a:gd name="connsiteY5" fmla="*/ 1638537 h 1638537"/>
              <a:gd name="connsiteX6" fmla="*/ 2742666 w 5092645"/>
              <a:gd name="connsiteY6" fmla="*/ 1638537 h 1638537"/>
              <a:gd name="connsiteX7" fmla="*/ 0 w 5092645"/>
              <a:gd name="connsiteY7" fmla="*/ 1638537 h 163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92645" h="1638537">
                <a:moveTo>
                  <a:pt x="0" y="0"/>
                </a:moveTo>
                <a:lnTo>
                  <a:pt x="2742666" y="0"/>
                </a:lnTo>
                <a:lnTo>
                  <a:pt x="3297315" y="0"/>
                </a:lnTo>
                <a:lnTo>
                  <a:pt x="5092645" y="0"/>
                </a:lnTo>
                <a:lnTo>
                  <a:pt x="5092645" y="1638537"/>
                </a:lnTo>
                <a:lnTo>
                  <a:pt x="3297315" y="1638537"/>
                </a:lnTo>
                <a:lnTo>
                  <a:pt x="2742666" y="1638537"/>
                </a:lnTo>
                <a:lnTo>
                  <a:pt x="0" y="1638537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7" name="Content Placeholder 57"/>
          <p:cNvSpPr>
            <a:spLocks noGrp="1"/>
          </p:cNvSpPr>
          <p:nvPr>
            <p:ph sz="quarter" idx="110" hasCustomPrompt="1"/>
          </p:nvPr>
        </p:nvSpPr>
        <p:spPr bwMode="auto">
          <a:xfrm>
            <a:off x="539496" y="1517904"/>
            <a:ext cx="5092645" cy="1599618"/>
          </a:xfrm>
          <a:custGeom>
            <a:avLst/>
            <a:gdLst>
              <a:gd name="connsiteX0" fmla="*/ 0 w 5092645"/>
              <a:gd name="connsiteY0" fmla="*/ 0 h 1638537"/>
              <a:gd name="connsiteX1" fmla="*/ 2742666 w 5092645"/>
              <a:gd name="connsiteY1" fmla="*/ 0 h 1638537"/>
              <a:gd name="connsiteX2" fmla="*/ 3297315 w 5092645"/>
              <a:gd name="connsiteY2" fmla="*/ 0 h 1638537"/>
              <a:gd name="connsiteX3" fmla="*/ 5092645 w 5092645"/>
              <a:gd name="connsiteY3" fmla="*/ 0 h 1638537"/>
              <a:gd name="connsiteX4" fmla="*/ 5092645 w 5092645"/>
              <a:gd name="connsiteY4" fmla="*/ 1638537 h 1638537"/>
              <a:gd name="connsiteX5" fmla="*/ 3297315 w 5092645"/>
              <a:gd name="connsiteY5" fmla="*/ 1638537 h 1638537"/>
              <a:gd name="connsiteX6" fmla="*/ 2742666 w 5092645"/>
              <a:gd name="connsiteY6" fmla="*/ 1638537 h 1638537"/>
              <a:gd name="connsiteX7" fmla="*/ 0 w 5092645"/>
              <a:gd name="connsiteY7" fmla="*/ 1638537 h 163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92645" h="1638537">
                <a:moveTo>
                  <a:pt x="0" y="0"/>
                </a:moveTo>
                <a:lnTo>
                  <a:pt x="2742666" y="0"/>
                </a:lnTo>
                <a:lnTo>
                  <a:pt x="3297315" y="0"/>
                </a:lnTo>
                <a:lnTo>
                  <a:pt x="5092645" y="0"/>
                </a:lnTo>
                <a:lnTo>
                  <a:pt x="5092645" y="1638537"/>
                </a:lnTo>
                <a:lnTo>
                  <a:pt x="3297315" y="1638537"/>
                </a:lnTo>
                <a:lnTo>
                  <a:pt x="2742666" y="1638537"/>
                </a:lnTo>
                <a:lnTo>
                  <a:pt x="0" y="1638537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069063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9144000" cy="5715000"/>
          </a:xfrm>
          <a:solidFill>
            <a:srgbClr val="A2DADD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2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INSERT OFFICE OR CITY PICTURE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7"/>
          </p:nvPr>
        </p:nvSpPr>
        <p:spPr>
          <a:xfrm>
            <a:off x="4572000" y="3445726"/>
            <a:ext cx="4572000" cy="1485503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accent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accent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accent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accent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829175" y="3636772"/>
            <a:ext cx="3481388" cy="110341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00" kern="0" spc="0" baseline="0" dirty="0" smtClean="0">
                <a:solidFill>
                  <a:schemeClr val="bg1"/>
                </a:solidFill>
                <a:latin typeface="Calibri" panose="020F0502020204030204" pitchFamily="34" charset="0"/>
                <a:ea typeface="ＭＳ Ｐゴシック" charset="0"/>
                <a:cs typeface="Segoe UI Light" panose="020B0502040204020203" pitchFamily="34" charset="0"/>
              </a:defRPr>
            </a:lvl2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Office Name</a:t>
            </a:r>
          </a:p>
          <a:p>
            <a:pPr lvl="1"/>
            <a:r>
              <a:rPr lang="en-US" dirty="0"/>
              <a:t>Address line</a:t>
            </a:r>
          </a:p>
          <a:p>
            <a:pPr lvl="1"/>
            <a:r>
              <a:rPr lang="en-US" dirty="0"/>
              <a:t>T: + (XX) XXX </a:t>
            </a:r>
            <a:r>
              <a:rPr lang="en-US" dirty="0" err="1"/>
              <a:t>XXX</a:t>
            </a:r>
            <a:endParaRPr lang="en-US" dirty="0"/>
          </a:p>
          <a:p>
            <a:pPr marL="0" lvl="1" indent="0" algn="l" defTabSz="80962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</a:pPr>
            <a:r>
              <a:rPr lang="en-US" dirty="0"/>
              <a:t>E: someone@epinionglobal.com</a:t>
            </a:r>
          </a:p>
        </p:txBody>
      </p: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8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954377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20"/>
          </p:nvPr>
        </p:nvSpPr>
        <p:spPr bwMode="auto">
          <a:xfrm>
            <a:off x="539494" y="1383062"/>
            <a:ext cx="5322342" cy="3760437"/>
          </a:xfrm>
          <a:custGeom>
            <a:avLst/>
            <a:gdLst>
              <a:gd name="connsiteX0" fmla="*/ 0 w 5322342"/>
              <a:gd name="connsiteY0" fmla="*/ 0 h 3760437"/>
              <a:gd name="connsiteX1" fmla="*/ 2742668 w 5322342"/>
              <a:gd name="connsiteY1" fmla="*/ 0 h 3760437"/>
              <a:gd name="connsiteX2" fmla="*/ 3840593 w 5322342"/>
              <a:gd name="connsiteY2" fmla="*/ 0 h 3760437"/>
              <a:gd name="connsiteX3" fmla="*/ 5322342 w 5322342"/>
              <a:gd name="connsiteY3" fmla="*/ 0 h 3760437"/>
              <a:gd name="connsiteX4" fmla="*/ 5322342 w 5322342"/>
              <a:gd name="connsiteY4" fmla="*/ 3760437 h 3760437"/>
              <a:gd name="connsiteX5" fmla="*/ 3840593 w 5322342"/>
              <a:gd name="connsiteY5" fmla="*/ 3760437 h 3760437"/>
              <a:gd name="connsiteX6" fmla="*/ 2742668 w 5322342"/>
              <a:gd name="connsiteY6" fmla="*/ 3760437 h 3760437"/>
              <a:gd name="connsiteX7" fmla="*/ 0 w 5322342"/>
              <a:gd name="connsiteY7" fmla="*/ 3760437 h 3760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3760437">
                <a:moveTo>
                  <a:pt x="0" y="0"/>
                </a:moveTo>
                <a:lnTo>
                  <a:pt x="2742668" y="0"/>
                </a:lnTo>
                <a:lnTo>
                  <a:pt x="3840593" y="0"/>
                </a:lnTo>
                <a:lnTo>
                  <a:pt x="5322342" y="0"/>
                </a:lnTo>
                <a:lnTo>
                  <a:pt x="5322342" y="3760437"/>
                </a:lnTo>
                <a:lnTo>
                  <a:pt x="3840593" y="3760437"/>
                </a:lnTo>
                <a:lnTo>
                  <a:pt x="2742668" y="3760437"/>
                </a:lnTo>
                <a:lnTo>
                  <a:pt x="0" y="376043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61448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44"/>
          </p:nvPr>
        </p:nvSpPr>
        <p:spPr bwMode="auto">
          <a:xfrm>
            <a:off x="686331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9318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9318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9318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9318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299045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1" name="Content Placeholder 40"/>
          <p:cNvSpPr>
            <a:spLocks noGrp="1"/>
          </p:cNvSpPr>
          <p:nvPr>
            <p:ph sz="quarter" idx="129" hasCustomPrompt="1"/>
          </p:nvPr>
        </p:nvSpPr>
        <p:spPr bwMode="auto">
          <a:xfrm>
            <a:off x="686331" y="1836963"/>
            <a:ext cx="5028668" cy="2943700"/>
          </a:xfrm>
          <a:custGeom>
            <a:avLst/>
            <a:gdLst>
              <a:gd name="connsiteX0" fmla="*/ 0 w 5028668"/>
              <a:gd name="connsiteY0" fmla="*/ 0 h 3066900"/>
              <a:gd name="connsiteX1" fmla="*/ 2742668 w 5028668"/>
              <a:gd name="connsiteY1" fmla="*/ 0 h 3066900"/>
              <a:gd name="connsiteX2" fmla="*/ 3146887 w 5028668"/>
              <a:gd name="connsiteY2" fmla="*/ 0 h 3066900"/>
              <a:gd name="connsiteX3" fmla="*/ 5028668 w 5028668"/>
              <a:gd name="connsiteY3" fmla="*/ 0 h 3066900"/>
              <a:gd name="connsiteX4" fmla="*/ 5028668 w 5028668"/>
              <a:gd name="connsiteY4" fmla="*/ 842637 h 3066900"/>
              <a:gd name="connsiteX5" fmla="*/ 5028668 w 5028668"/>
              <a:gd name="connsiteY5" fmla="*/ 1124712 h 3066900"/>
              <a:gd name="connsiteX6" fmla="*/ 5028668 w 5028668"/>
              <a:gd name="connsiteY6" fmla="*/ 3066900 h 3066900"/>
              <a:gd name="connsiteX7" fmla="*/ 3146887 w 5028668"/>
              <a:gd name="connsiteY7" fmla="*/ 3066900 h 3066900"/>
              <a:gd name="connsiteX8" fmla="*/ 2742668 w 5028668"/>
              <a:gd name="connsiteY8" fmla="*/ 3066900 h 3066900"/>
              <a:gd name="connsiteX9" fmla="*/ 0 w 5028668"/>
              <a:gd name="connsiteY9" fmla="*/ 3066900 h 3066900"/>
              <a:gd name="connsiteX10" fmla="*/ 0 w 5028668"/>
              <a:gd name="connsiteY10" fmla="*/ 1124712 h 3066900"/>
              <a:gd name="connsiteX11" fmla="*/ 0 w 5028668"/>
              <a:gd name="connsiteY11" fmla="*/ 842637 h 306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028668" h="3066900">
                <a:moveTo>
                  <a:pt x="0" y="0"/>
                </a:moveTo>
                <a:lnTo>
                  <a:pt x="2742668" y="0"/>
                </a:lnTo>
                <a:lnTo>
                  <a:pt x="3146887" y="0"/>
                </a:lnTo>
                <a:lnTo>
                  <a:pt x="5028668" y="0"/>
                </a:lnTo>
                <a:lnTo>
                  <a:pt x="5028668" y="842637"/>
                </a:lnTo>
                <a:lnTo>
                  <a:pt x="5028668" y="1124712"/>
                </a:lnTo>
                <a:lnTo>
                  <a:pt x="5028668" y="3066900"/>
                </a:lnTo>
                <a:lnTo>
                  <a:pt x="3146887" y="3066900"/>
                </a:lnTo>
                <a:lnTo>
                  <a:pt x="2742668" y="3066900"/>
                </a:lnTo>
                <a:lnTo>
                  <a:pt x="0" y="3066900"/>
                </a:lnTo>
                <a:lnTo>
                  <a:pt x="0" y="1124712"/>
                </a:lnTo>
                <a:lnTo>
                  <a:pt x="0" y="842637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2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86333" y="48470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131" hasCustomPrompt="1"/>
          </p:nvPr>
        </p:nvSpPr>
        <p:spPr>
          <a:xfrm>
            <a:off x="686333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7335118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4" name="Title 10"/>
          <p:cNvSpPr>
            <a:spLocks noGrp="1"/>
          </p:cNvSpPr>
          <p:nvPr>
            <p:ph type="title"/>
          </p:nvPr>
        </p:nvSpPr>
        <p:spPr>
          <a:xfrm>
            <a:off x="4736303" y="576072"/>
            <a:ext cx="386819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36303" y="914400"/>
            <a:ext cx="386819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14"/>
          <p:cNvSpPr>
            <a:spLocks noGrp="1"/>
          </p:cNvSpPr>
          <p:nvPr>
            <p:ph type="body" sz="quarter" idx="45"/>
          </p:nvPr>
        </p:nvSpPr>
        <p:spPr>
          <a:xfrm>
            <a:off x="539496" y="50739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Picture Placeholder 11"/>
          <p:cNvSpPr>
            <a:spLocks noGrp="1"/>
          </p:cNvSpPr>
          <p:nvPr>
            <p:ph type="pic" sz="quarter" idx="46"/>
          </p:nvPr>
        </p:nvSpPr>
        <p:spPr>
          <a:xfrm>
            <a:off x="711418" y="88763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Text Placeholder 10"/>
          <p:cNvSpPr>
            <a:spLocks noGrp="1"/>
          </p:cNvSpPr>
          <p:nvPr>
            <p:ph type="body" sz="quarter" idx="47"/>
          </p:nvPr>
        </p:nvSpPr>
        <p:spPr>
          <a:xfrm>
            <a:off x="710655" y="63860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7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710655" y="95230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8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710299" y="247846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710655" y="254313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3531028" y="254313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1" name="Text Placeholder 14"/>
          <p:cNvSpPr>
            <a:spLocks noGrp="1"/>
          </p:cNvSpPr>
          <p:nvPr>
            <p:ph type="body" sz="quarter" idx="80"/>
          </p:nvPr>
        </p:nvSpPr>
        <p:spPr>
          <a:xfrm>
            <a:off x="539496" y="292984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Picture Placeholder 11"/>
          <p:cNvSpPr>
            <a:spLocks noGrp="1"/>
          </p:cNvSpPr>
          <p:nvPr>
            <p:ph type="pic" sz="quarter" idx="81"/>
          </p:nvPr>
        </p:nvSpPr>
        <p:spPr>
          <a:xfrm>
            <a:off x="711418" y="331008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3" name="Text Placeholder 10"/>
          <p:cNvSpPr>
            <a:spLocks noGrp="1"/>
          </p:cNvSpPr>
          <p:nvPr>
            <p:ph type="body" sz="quarter" idx="82"/>
          </p:nvPr>
        </p:nvSpPr>
        <p:spPr>
          <a:xfrm>
            <a:off x="710655" y="306105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4" name="Content Placeholder 4"/>
          <p:cNvSpPr>
            <a:spLocks noGrp="1"/>
          </p:cNvSpPr>
          <p:nvPr>
            <p:ph sz="quarter" idx="83" hasCustomPrompt="1"/>
          </p:nvPr>
        </p:nvSpPr>
        <p:spPr>
          <a:xfrm>
            <a:off x="710655" y="337475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5" name="Picture Placeholder 11"/>
          <p:cNvSpPr>
            <a:spLocks noGrp="1"/>
          </p:cNvSpPr>
          <p:nvPr>
            <p:ph type="pic" sz="quarter" idx="84"/>
          </p:nvPr>
        </p:nvSpPr>
        <p:spPr>
          <a:xfrm>
            <a:off x="710299" y="490091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6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710655" y="496558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7" name="Text Placeholder 6"/>
          <p:cNvSpPr>
            <a:spLocks noGrp="1"/>
          </p:cNvSpPr>
          <p:nvPr>
            <p:ph type="body" sz="quarter" idx="86" hasCustomPrompt="1"/>
          </p:nvPr>
        </p:nvSpPr>
        <p:spPr>
          <a:xfrm>
            <a:off x="3531028" y="496558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736303" y="1514263"/>
            <a:ext cx="3868198" cy="369663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54436388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/>
          <p:cNvSpPr>
            <a:spLocks noGrp="1"/>
          </p:cNvSpPr>
          <p:nvPr>
            <p:ph type="body" sz="quarter" idx="45"/>
          </p:nvPr>
        </p:nvSpPr>
        <p:spPr bwMode="auto">
          <a:xfrm>
            <a:off x="539496" y="507398"/>
            <a:ext cx="3868923" cy="4703497"/>
          </a:xfrm>
          <a:custGeom>
            <a:avLst/>
            <a:gdLst>
              <a:gd name="connsiteX0" fmla="*/ 0 w 3868923"/>
              <a:gd name="connsiteY0" fmla="*/ 0 h 4703497"/>
              <a:gd name="connsiteX1" fmla="*/ 3868923 w 3868923"/>
              <a:gd name="connsiteY1" fmla="*/ 0 h 4703497"/>
              <a:gd name="connsiteX2" fmla="*/ 3868923 w 3868923"/>
              <a:gd name="connsiteY2" fmla="*/ 2566001 h 4703497"/>
              <a:gd name="connsiteX3" fmla="*/ 3868198 w 3868923"/>
              <a:gd name="connsiteY3" fmla="*/ 2566001 h 4703497"/>
              <a:gd name="connsiteX4" fmla="*/ 3868198 w 3868923"/>
              <a:gd name="connsiteY4" fmla="*/ 4703497 h 4703497"/>
              <a:gd name="connsiteX5" fmla="*/ 0 w 3868923"/>
              <a:gd name="connsiteY5" fmla="*/ 4703497 h 4703497"/>
              <a:gd name="connsiteX6" fmla="*/ 0 w 3868923"/>
              <a:gd name="connsiteY6" fmla="*/ 2566001 h 4703497"/>
              <a:gd name="connsiteX7" fmla="*/ 0 w 3868923"/>
              <a:gd name="connsiteY7" fmla="*/ 2414144 h 4703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68923" h="4703497">
                <a:moveTo>
                  <a:pt x="0" y="0"/>
                </a:moveTo>
                <a:lnTo>
                  <a:pt x="3868923" y="0"/>
                </a:lnTo>
                <a:lnTo>
                  <a:pt x="3868923" y="2566001"/>
                </a:lnTo>
                <a:lnTo>
                  <a:pt x="3868198" y="2566001"/>
                </a:lnTo>
                <a:lnTo>
                  <a:pt x="3868198" y="4703497"/>
                </a:lnTo>
                <a:lnTo>
                  <a:pt x="0" y="4703497"/>
                </a:lnTo>
                <a:lnTo>
                  <a:pt x="0" y="2566001"/>
                </a:lnTo>
                <a:lnTo>
                  <a:pt x="0" y="2414144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-450476" y="4939553"/>
            <a:ext cx="3429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Picture Placeholder 11"/>
          <p:cNvSpPr>
            <a:spLocks noGrp="1"/>
          </p:cNvSpPr>
          <p:nvPr>
            <p:ph type="pic" sz="quarter" idx="80"/>
          </p:nvPr>
        </p:nvSpPr>
        <p:spPr>
          <a:xfrm>
            <a:off x="783050" y="1046092"/>
            <a:ext cx="3381815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Text Placeholder 10"/>
          <p:cNvSpPr>
            <a:spLocks noGrp="1"/>
          </p:cNvSpPr>
          <p:nvPr>
            <p:ph type="body" sz="quarter" idx="81"/>
          </p:nvPr>
        </p:nvSpPr>
        <p:spPr>
          <a:xfrm>
            <a:off x="782317" y="706823"/>
            <a:ext cx="338328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1" name="Picture Placeholder 11"/>
          <p:cNvSpPr>
            <a:spLocks noGrp="1"/>
          </p:cNvSpPr>
          <p:nvPr>
            <p:ph type="pic" sz="quarter" idx="82"/>
          </p:nvPr>
        </p:nvSpPr>
        <p:spPr>
          <a:xfrm>
            <a:off x="783050" y="4736421"/>
            <a:ext cx="3381815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Content Placeholder 4"/>
          <p:cNvSpPr>
            <a:spLocks noGrp="1"/>
          </p:cNvSpPr>
          <p:nvPr>
            <p:ph sz="quarter" idx="83" hasCustomPrompt="1"/>
          </p:nvPr>
        </p:nvSpPr>
        <p:spPr>
          <a:xfrm>
            <a:off x="782317" y="1127059"/>
            <a:ext cx="3383280" cy="3537539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3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782317" y="4817388"/>
            <a:ext cx="2423727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3206045" y="4817388"/>
            <a:ext cx="95955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5" name="Title 10"/>
          <p:cNvSpPr>
            <a:spLocks noGrp="1"/>
          </p:cNvSpPr>
          <p:nvPr>
            <p:ph type="title"/>
          </p:nvPr>
        </p:nvSpPr>
        <p:spPr>
          <a:xfrm>
            <a:off x="4736303" y="576072"/>
            <a:ext cx="386819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36303" y="914400"/>
            <a:ext cx="386819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736303" y="1514263"/>
            <a:ext cx="3868198" cy="369663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70257416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8" name="Text Placeholder 14"/>
          <p:cNvSpPr>
            <a:spLocks noGrp="1"/>
          </p:cNvSpPr>
          <p:nvPr>
            <p:ph type="body" sz="quarter" idx="45"/>
          </p:nvPr>
        </p:nvSpPr>
        <p:spPr>
          <a:xfrm>
            <a:off x="4735578" y="50739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Picture Placeholder 11"/>
          <p:cNvSpPr>
            <a:spLocks noGrp="1"/>
          </p:cNvSpPr>
          <p:nvPr>
            <p:ph type="pic" sz="quarter" idx="46"/>
          </p:nvPr>
        </p:nvSpPr>
        <p:spPr>
          <a:xfrm>
            <a:off x="4907661" y="88763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Text Placeholder 10"/>
          <p:cNvSpPr>
            <a:spLocks noGrp="1"/>
          </p:cNvSpPr>
          <p:nvPr>
            <p:ph type="body" sz="quarter" idx="47"/>
          </p:nvPr>
        </p:nvSpPr>
        <p:spPr>
          <a:xfrm>
            <a:off x="4906737" y="63860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1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4906737" y="95230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2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4906747" y="247846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3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906737" y="254313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7727110" y="254313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2" name="Text Placeholder 14"/>
          <p:cNvSpPr>
            <a:spLocks noGrp="1"/>
          </p:cNvSpPr>
          <p:nvPr>
            <p:ph type="body" sz="quarter" idx="98"/>
          </p:nvPr>
        </p:nvSpPr>
        <p:spPr>
          <a:xfrm>
            <a:off x="539496" y="507399"/>
            <a:ext cx="386892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3" name="Picture Placeholder 11"/>
          <p:cNvSpPr>
            <a:spLocks noGrp="1"/>
          </p:cNvSpPr>
          <p:nvPr>
            <p:ph type="pic" sz="quarter" idx="99"/>
          </p:nvPr>
        </p:nvSpPr>
        <p:spPr>
          <a:xfrm>
            <a:off x="711418" y="887637"/>
            <a:ext cx="352507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4" name="Text Placeholder 10"/>
          <p:cNvSpPr>
            <a:spLocks noGrp="1"/>
          </p:cNvSpPr>
          <p:nvPr>
            <p:ph type="body" sz="quarter" idx="100"/>
          </p:nvPr>
        </p:nvSpPr>
        <p:spPr>
          <a:xfrm>
            <a:off x="710655" y="638600"/>
            <a:ext cx="3526605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5" name="Content Placeholder 4"/>
          <p:cNvSpPr>
            <a:spLocks noGrp="1"/>
          </p:cNvSpPr>
          <p:nvPr>
            <p:ph sz="quarter" idx="101" hasCustomPrompt="1"/>
          </p:nvPr>
        </p:nvSpPr>
        <p:spPr>
          <a:xfrm>
            <a:off x="710655" y="952304"/>
            <a:ext cx="3526605" cy="1470637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6" name="Picture Placeholder 11"/>
          <p:cNvSpPr>
            <a:spLocks noGrp="1"/>
          </p:cNvSpPr>
          <p:nvPr>
            <p:ph type="pic" sz="quarter" idx="102"/>
          </p:nvPr>
        </p:nvSpPr>
        <p:spPr>
          <a:xfrm>
            <a:off x="710299" y="2478464"/>
            <a:ext cx="352731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103" hasCustomPrompt="1"/>
          </p:nvPr>
        </p:nvSpPr>
        <p:spPr>
          <a:xfrm>
            <a:off x="710655" y="2543131"/>
            <a:ext cx="2820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8" name="Text Placeholder 6"/>
          <p:cNvSpPr>
            <a:spLocks noGrp="1"/>
          </p:cNvSpPr>
          <p:nvPr>
            <p:ph type="body" sz="quarter" idx="104" hasCustomPrompt="1"/>
          </p:nvPr>
        </p:nvSpPr>
        <p:spPr>
          <a:xfrm>
            <a:off x="3531028" y="254313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1419" y="3052743"/>
            <a:ext cx="3526198" cy="2083493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5" name="Content Placeholder 7"/>
          <p:cNvSpPr>
            <a:spLocks noGrp="1"/>
          </p:cNvSpPr>
          <p:nvPr>
            <p:ph sz="quarter" idx="85" hasCustomPrompt="1"/>
          </p:nvPr>
        </p:nvSpPr>
        <p:spPr>
          <a:xfrm>
            <a:off x="4907661" y="3052743"/>
            <a:ext cx="3526403" cy="2083493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62768815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7" name="Text Placeholder 14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8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9" name="Text Placeholder 10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0" name="Content Placeholder 4"/>
          <p:cNvSpPr>
            <a:spLocks noGrp="1"/>
          </p:cNvSpPr>
          <p:nvPr>
            <p:ph sz="quarter" idx="111" hasCustomPrompt="1"/>
          </p:nvPr>
        </p:nvSpPr>
        <p:spPr>
          <a:xfrm>
            <a:off x="686333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11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13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33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4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35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36" name="Text Placeholder 14"/>
          <p:cNvSpPr>
            <a:spLocks noGrp="1"/>
          </p:cNvSpPr>
          <p:nvPr>
            <p:ph type="body" sz="quarter" idx="122"/>
          </p:nvPr>
        </p:nvSpPr>
        <p:spPr>
          <a:xfrm>
            <a:off x="3282163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7" name="Picture Placeholder 11"/>
          <p:cNvSpPr>
            <a:spLocks noGrp="1"/>
          </p:cNvSpPr>
          <p:nvPr>
            <p:ph type="pic" sz="quarter" idx="123"/>
          </p:nvPr>
        </p:nvSpPr>
        <p:spPr>
          <a:xfrm>
            <a:off x="3429000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8" name="Text Placeholder 10"/>
          <p:cNvSpPr>
            <a:spLocks noGrp="1"/>
          </p:cNvSpPr>
          <p:nvPr>
            <p:ph type="body" sz="quarter" idx="124"/>
          </p:nvPr>
        </p:nvSpPr>
        <p:spPr>
          <a:xfrm>
            <a:off x="3429000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9" name="Content Placeholder 4"/>
          <p:cNvSpPr>
            <a:spLocks noGrp="1"/>
          </p:cNvSpPr>
          <p:nvPr>
            <p:ph sz="quarter" idx="125" hasCustomPrompt="1"/>
          </p:nvPr>
        </p:nvSpPr>
        <p:spPr>
          <a:xfrm>
            <a:off x="3429000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0" name="Picture Placeholder 11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1" name="Text Placeholder 6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2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43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7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8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9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50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1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2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3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54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330969245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4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7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8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2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4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5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6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7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11" name="Text Placeholder 110"/>
          <p:cNvSpPr>
            <a:spLocks noGrp="1"/>
          </p:cNvSpPr>
          <p:nvPr>
            <p:ph type="body" sz="quarter" idx="20"/>
          </p:nvPr>
        </p:nvSpPr>
        <p:spPr bwMode="auto">
          <a:xfrm>
            <a:off x="539494" y="1383062"/>
            <a:ext cx="5322342" cy="1810987"/>
          </a:xfrm>
          <a:custGeom>
            <a:avLst/>
            <a:gdLst>
              <a:gd name="connsiteX0" fmla="*/ 0 w 5322342"/>
              <a:gd name="connsiteY0" fmla="*/ 0 h 1810987"/>
              <a:gd name="connsiteX1" fmla="*/ 2742668 w 5322342"/>
              <a:gd name="connsiteY1" fmla="*/ 0 h 1810987"/>
              <a:gd name="connsiteX2" fmla="*/ 3124425 w 5322342"/>
              <a:gd name="connsiteY2" fmla="*/ 0 h 1810987"/>
              <a:gd name="connsiteX3" fmla="*/ 5322342 w 5322342"/>
              <a:gd name="connsiteY3" fmla="*/ 0 h 1810987"/>
              <a:gd name="connsiteX4" fmla="*/ 5322342 w 5322342"/>
              <a:gd name="connsiteY4" fmla="*/ 1810987 h 1810987"/>
              <a:gd name="connsiteX5" fmla="*/ 3124425 w 5322342"/>
              <a:gd name="connsiteY5" fmla="*/ 1810987 h 1810987"/>
              <a:gd name="connsiteX6" fmla="*/ 2742668 w 5322342"/>
              <a:gd name="connsiteY6" fmla="*/ 1810987 h 1810987"/>
              <a:gd name="connsiteX7" fmla="*/ 0 w 5322342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1810987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810987"/>
                </a:lnTo>
                <a:lnTo>
                  <a:pt x="3124425" y="1810987"/>
                </a:lnTo>
                <a:lnTo>
                  <a:pt x="2742668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5" name="Text Placeholder 114"/>
          <p:cNvSpPr>
            <a:spLocks noGrp="1"/>
          </p:cNvSpPr>
          <p:nvPr>
            <p:ph type="body" sz="quarter" idx="44"/>
          </p:nvPr>
        </p:nvSpPr>
        <p:spPr bwMode="auto">
          <a:xfrm>
            <a:off x="686331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3" name="Content Placeholder 112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1" y="1775363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86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03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2" name="Text Placeholder 14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3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Text Placeholder 10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3" name="Content Placeholder 4"/>
          <p:cNvSpPr>
            <a:spLocks noGrp="1"/>
          </p:cNvSpPr>
          <p:nvPr>
            <p:ph sz="quarter" idx="111" hasCustomPrompt="1"/>
          </p:nvPr>
        </p:nvSpPr>
        <p:spPr>
          <a:xfrm>
            <a:off x="686333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0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4" name="Text Placeholder 14"/>
          <p:cNvSpPr>
            <a:spLocks noGrp="1"/>
          </p:cNvSpPr>
          <p:nvPr>
            <p:ph type="body" sz="quarter" idx="122"/>
          </p:nvPr>
        </p:nvSpPr>
        <p:spPr>
          <a:xfrm>
            <a:off x="3282163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5" name="Picture Placeholder 11"/>
          <p:cNvSpPr>
            <a:spLocks noGrp="1"/>
          </p:cNvSpPr>
          <p:nvPr>
            <p:ph type="pic" sz="quarter" idx="123"/>
          </p:nvPr>
        </p:nvSpPr>
        <p:spPr>
          <a:xfrm>
            <a:off x="3429000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6" name="Text Placeholder 10"/>
          <p:cNvSpPr>
            <a:spLocks noGrp="1"/>
          </p:cNvSpPr>
          <p:nvPr>
            <p:ph type="body" sz="quarter" idx="124"/>
          </p:nvPr>
        </p:nvSpPr>
        <p:spPr>
          <a:xfrm>
            <a:off x="3429000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7" name="Content Placeholder 4"/>
          <p:cNvSpPr>
            <a:spLocks noGrp="1"/>
          </p:cNvSpPr>
          <p:nvPr>
            <p:ph sz="quarter" idx="125" hasCustomPrompt="1"/>
          </p:nvPr>
        </p:nvSpPr>
        <p:spPr>
          <a:xfrm>
            <a:off x="3429000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8" name="Picture Placeholder 11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9" name="Text Placeholder 6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0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236203038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33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4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35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43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7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8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9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50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1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2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3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54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6" name="Text Placeholder 65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7" name="Picture Placeholder 11"/>
          <p:cNvSpPr>
            <a:spLocks noGrp="1"/>
          </p:cNvSpPr>
          <p:nvPr>
            <p:ph type="pic" sz="quarter" idx="143"/>
          </p:nvPr>
        </p:nvSpPr>
        <p:spPr>
          <a:xfrm>
            <a:off x="686066" y="3672836"/>
            <a:ext cx="50292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Text Placeholder 67"/>
          <p:cNvSpPr>
            <a:spLocks noGrp="1"/>
          </p:cNvSpPr>
          <p:nvPr>
            <p:ph type="body" sz="quarter" idx="144"/>
          </p:nvPr>
        </p:nvSpPr>
        <p:spPr bwMode="auto">
          <a:xfrm>
            <a:off x="686332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Content Placeholder 68"/>
          <p:cNvSpPr>
            <a:spLocks noGrp="1"/>
          </p:cNvSpPr>
          <p:nvPr>
            <p:ph sz="quarter" idx="145" hasCustomPrompt="1"/>
          </p:nvPr>
        </p:nvSpPr>
        <p:spPr bwMode="auto">
          <a:xfrm>
            <a:off x="686332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0" name="Picture Placeholder 11"/>
          <p:cNvSpPr>
            <a:spLocks noGrp="1"/>
          </p:cNvSpPr>
          <p:nvPr>
            <p:ph type="pic" sz="quarter" idx="146"/>
          </p:nvPr>
        </p:nvSpPr>
        <p:spPr>
          <a:xfrm>
            <a:off x="686066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147" hasCustomPrompt="1"/>
          </p:nvPr>
        </p:nvSpPr>
        <p:spPr>
          <a:xfrm>
            <a:off x="686332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98262242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7" name="Text Placeholder 14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8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9" name="Text Placeholder 10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0" name="Content Placeholder 4"/>
          <p:cNvSpPr>
            <a:spLocks noGrp="1"/>
          </p:cNvSpPr>
          <p:nvPr>
            <p:ph sz="quarter" idx="111" hasCustomPrompt="1"/>
          </p:nvPr>
        </p:nvSpPr>
        <p:spPr>
          <a:xfrm>
            <a:off x="686333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11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13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33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4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35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43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7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8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9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6" name="Text Placeholder 65"/>
          <p:cNvSpPr>
            <a:spLocks noGrp="1"/>
          </p:cNvSpPr>
          <p:nvPr>
            <p:ph type="body" sz="quarter" idx="136"/>
          </p:nvPr>
        </p:nvSpPr>
        <p:spPr bwMode="auto">
          <a:xfrm>
            <a:off x="3282163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7" name="Picture Placeholder 11"/>
          <p:cNvSpPr>
            <a:spLocks noGrp="1"/>
          </p:cNvSpPr>
          <p:nvPr>
            <p:ph type="pic" sz="quarter" idx="143"/>
          </p:nvPr>
        </p:nvSpPr>
        <p:spPr>
          <a:xfrm>
            <a:off x="3428733" y="3672836"/>
            <a:ext cx="50292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Text Placeholder 67"/>
          <p:cNvSpPr>
            <a:spLocks noGrp="1"/>
          </p:cNvSpPr>
          <p:nvPr>
            <p:ph type="body" sz="quarter" idx="144"/>
          </p:nvPr>
        </p:nvSpPr>
        <p:spPr bwMode="auto">
          <a:xfrm>
            <a:off x="3428999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Content Placeholder 68"/>
          <p:cNvSpPr>
            <a:spLocks noGrp="1"/>
          </p:cNvSpPr>
          <p:nvPr>
            <p:ph sz="quarter" idx="145" hasCustomPrompt="1"/>
          </p:nvPr>
        </p:nvSpPr>
        <p:spPr bwMode="auto">
          <a:xfrm>
            <a:off x="3428999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0" name="Picture Placeholder 11"/>
          <p:cNvSpPr>
            <a:spLocks noGrp="1"/>
          </p:cNvSpPr>
          <p:nvPr>
            <p:ph type="pic" sz="quarter" idx="146"/>
          </p:nvPr>
        </p:nvSpPr>
        <p:spPr>
          <a:xfrm>
            <a:off x="3428733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147" hasCustomPrompt="1"/>
          </p:nvPr>
        </p:nvSpPr>
        <p:spPr>
          <a:xfrm>
            <a:off x="3428999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1944467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0" name="Text Placeholder 59"/>
          <p:cNvSpPr>
            <a:spLocks noGrp="1"/>
          </p:cNvSpPr>
          <p:nvPr>
            <p:ph type="body" sz="quarter" idx="20"/>
          </p:nvPr>
        </p:nvSpPr>
        <p:spPr bwMode="auto">
          <a:xfrm>
            <a:off x="539496" y="1383062"/>
            <a:ext cx="8065008" cy="1810987"/>
          </a:xfrm>
          <a:custGeom>
            <a:avLst/>
            <a:gdLst>
              <a:gd name="connsiteX0" fmla="*/ 0 w 8065008"/>
              <a:gd name="connsiteY0" fmla="*/ 0 h 1810987"/>
              <a:gd name="connsiteX1" fmla="*/ 2742666 w 8065008"/>
              <a:gd name="connsiteY1" fmla="*/ 0 h 1810987"/>
              <a:gd name="connsiteX2" fmla="*/ 2889236 w 8065008"/>
              <a:gd name="connsiteY2" fmla="*/ 0 h 1810987"/>
              <a:gd name="connsiteX3" fmla="*/ 5485334 w 8065008"/>
              <a:gd name="connsiteY3" fmla="*/ 0 h 1810987"/>
              <a:gd name="connsiteX4" fmla="*/ 5867091 w 8065008"/>
              <a:gd name="connsiteY4" fmla="*/ 0 h 1810987"/>
              <a:gd name="connsiteX5" fmla="*/ 8065008 w 8065008"/>
              <a:gd name="connsiteY5" fmla="*/ 0 h 1810987"/>
              <a:gd name="connsiteX6" fmla="*/ 8065008 w 8065008"/>
              <a:gd name="connsiteY6" fmla="*/ 1810987 h 1810987"/>
              <a:gd name="connsiteX7" fmla="*/ 5867091 w 8065008"/>
              <a:gd name="connsiteY7" fmla="*/ 1810987 h 1810987"/>
              <a:gd name="connsiteX8" fmla="*/ 5485334 w 8065008"/>
              <a:gd name="connsiteY8" fmla="*/ 1810987 h 1810987"/>
              <a:gd name="connsiteX9" fmla="*/ 2889236 w 8065008"/>
              <a:gd name="connsiteY9" fmla="*/ 1810987 h 1810987"/>
              <a:gd name="connsiteX10" fmla="*/ 2742666 w 8065008"/>
              <a:gd name="connsiteY10" fmla="*/ 1810987 h 1810987"/>
              <a:gd name="connsiteX11" fmla="*/ 0 w 8065008"/>
              <a:gd name="connsiteY11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065008" h="1810987">
                <a:moveTo>
                  <a:pt x="0" y="0"/>
                </a:moveTo>
                <a:lnTo>
                  <a:pt x="2742666" y="0"/>
                </a:lnTo>
                <a:lnTo>
                  <a:pt x="2889236" y="0"/>
                </a:lnTo>
                <a:lnTo>
                  <a:pt x="5485334" y="0"/>
                </a:lnTo>
                <a:lnTo>
                  <a:pt x="5867091" y="0"/>
                </a:lnTo>
                <a:lnTo>
                  <a:pt x="8065008" y="0"/>
                </a:lnTo>
                <a:lnTo>
                  <a:pt x="8065008" y="1810987"/>
                </a:lnTo>
                <a:lnTo>
                  <a:pt x="5867091" y="1810987"/>
                </a:lnTo>
                <a:lnTo>
                  <a:pt x="5485334" y="1810987"/>
                </a:lnTo>
                <a:lnTo>
                  <a:pt x="2889236" y="1810987"/>
                </a:lnTo>
                <a:lnTo>
                  <a:pt x="2742666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77724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Content Placeholder 61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2" y="1775363"/>
            <a:ext cx="7771335" cy="1124712"/>
          </a:xfrm>
          <a:custGeom>
            <a:avLst/>
            <a:gdLst>
              <a:gd name="connsiteX0" fmla="*/ 0 w 7771335"/>
              <a:gd name="connsiteY0" fmla="*/ 0 h 1124712"/>
              <a:gd name="connsiteX1" fmla="*/ 2742667 w 7771335"/>
              <a:gd name="connsiteY1" fmla="*/ 0 h 1124712"/>
              <a:gd name="connsiteX2" fmla="*/ 2847089 w 7771335"/>
              <a:gd name="connsiteY2" fmla="*/ 0 h 1124712"/>
              <a:gd name="connsiteX3" fmla="*/ 5485335 w 7771335"/>
              <a:gd name="connsiteY3" fmla="*/ 0 h 1124712"/>
              <a:gd name="connsiteX4" fmla="*/ 5612334 w 7771335"/>
              <a:gd name="connsiteY4" fmla="*/ 0 h 1124712"/>
              <a:gd name="connsiteX5" fmla="*/ 7771335 w 7771335"/>
              <a:gd name="connsiteY5" fmla="*/ 0 h 1124712"/>
              <a:gd name="connsiteX6" fmla="*/ 7771335 w 7771335"/>
              <a:gd name="connsiteY6" fmla="*/ 1124712 h 1124712"/>
              <a:gd name="connsiteX7" fmla="*/ 5612334 w 7771335"/>
              <a:gd name="connsiteY7" fmla="*/ 1124712 h 1124712"/>
              <a:gd name="connsiteX8" fmla="*/ 5485335 w 7771335"/>
              <a:gd name="connsiteY8" fmla="*/ 1124712 h 1124712"/>
              <a:gd name="connsiteX9" fmla="*/ 2847089 w 7771335"/>
              <a:gd name="connsiteY9" fmla="*/ 1124712 h 1124712"/>
              <a:gd name="connsiteX10" fmla="*/ 2742667 w 7771335"/>
              <a:gd name="connsiteY10" fmla="*/ 1124712 h 1124712"/>
              <a:gd name="connsiteX11" fmla="*/ 0 w 7771335"/>
              <a:gd name="connsiteY11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71335" h="1124712">
                <a:moveTo>
                  <a:pt x="0" y="0"/>
                </a:moveTo>
                <a:lnTo>
                  <a:pt x="2742667" y="0"/>
                </a:lnTo>
                <a:lnTo>
                  <a:pt x="2847089" y="0"/>
                </a:lnTo>
                <a:lnTo>
                  <a:pt x="5485335" y="0"/>
                </a:lnTo>
                <a:lnTo>
                  <a:pt x="5612334" y="0"/>
                </a:lnTo>
                <a:lnTo>
                  <a:pt x="7771335" y="0"/>
                </a:lnTo>
                <a:lnTo>
                  <a:pt x="7771335" y="1124712"/>
                </a:lnTo>
                <a:lnTo>
                  <a:pt x="5612334" y="1124712"/>
                </a:lnTo>
                <a:lnTo>
                  <a:pt x="5485335" y="1124712"/>
                </a:lnTo>
                <a:lnTo>
                  <a:pt x="2847089" y="1124712"/>
                </a:lnTo>
                <a:lnTo>
                  <a:pt x="2742667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77724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7" name="Text Placeholder 14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8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70297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9" name="Text Placeholder 10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0" name="Content Placeholder 4"/>
          <p:cNvSpPr>
            <a:spLocks noGrp="1"/>
          </p:cNvSpPr>
          <p:nvPr>
            <p:ph sz="quarter" idx="111" hasCustomPrompt="1"/>
          </p:nvPr>
        </p:nvSpPr>
        <p:spPr>
          <a:xfrm>
            <a:off x="686333" y="3737645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11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87882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13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36" name="Text Placeholder 14"/>
          <p:cNvSpPr>
            <a:spLocks noGrp="1"/>
          </p:cNvSpPr>
          <p:nvPr>
            <p:ph type="body" sz="quarter" idx="122"/>
          </p:nvPr>
        </p:nvSpPr>
        <p:spPr>
          <a:xfrm>
            <a:off x="3282163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7" name="Picture Placeholder 11"/>
          <p:cNvSpPr>
            <a:spLocks noGrp="1"/>
          </p:cNvSpPr>
          <p:nvPr>
            <p:ph type="pic" sz="quarter" idx="123"/>
          </p:nvPr>
        </p:nvSpPr>
        <p:spPr>
          <a:xfrm>
            <a:off x="3429000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8" name="Text Placeholder 10"/>
          <p:cNvSpPr>
            <a:spLocks noGrp="1"/>
          </p:cNvSpPr>
          <p:nvPr>
            <p:ph type="body" sz="quarter" idx="124"/>
          </p:nvPr>
        </p:nvSpPr>
        <p:spPr>
          <a:xfrm>
            <a:off x="3429000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9" name="Content Placeholder 4"/>
          <p:cNvSpPr>
            <a:spLocks noGrp="1"/>
          </p:cNvSpPr>
          <p:nvPr>
            <p:ph sz="quarter" idx="125" hasCustomPrompt="1"/>
          </p:nvPr>
        </p:nvSpPr>
        <p:spPr>
          <a:xfrm>
            <a:off x="3429000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0" name="Picture Placeholder 11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1" name="Text Placeholder 6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2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50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1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2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3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54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145"/>
          </p:nvPr>
        </p:nvSpPr>
        <p:spPr bwMode="auto">
          <a:xfrm>
            <a:off x="686333" y="1501563"/>
            <a:ext cx="7771334" cy="193514"/>
          </a:xfrm>
          <a:custGeom>
            <a:avLst/>
            <a:gdLst>
              <a:gd name="connsiteX0" fmla="*/ 0 w 7771334"/>
              <a:gd name="connsiteY0" fmla="*/ 0 h 193514"/>
              <a:gd name="connsiteX1" fmla="*/ 2742666 w 7771334"/>
              <a:gd name="connsiteY1" fmla="*/ 0 h 193514"/>
              <a:gd name="connsiteX2" fmla="*/ 2977588 w 7771334"/>
              <a:gd name="connsiteY2" fmla="*/ 0 h 193514"/>
              <a:gd name="connsiteX3" fmla="*/ 5485334 w 7771334"/>
              <a:gd name="connsiteY3" fmla="*/ 0 h 193514"/>
              <a:gd name="connsiteX4" fmla="*/ 5815533 w 7771334"/>
              <a:gd name="connsiteY4" fmla="*/ 0 h 193514"/>
              <a:gd name="connsiteX5" fmla="*/ 7771334 w 7771334"/>
              <a:gd name="connsiteY5" fmla="*/ 0 h 193514"/>
              <a:gd name="connsiteX6" fmla="*/ 7771334 w 7771334"/>
              <a:gd name="connsiteY6" fmla="*/ 193514 h 193514"/>
              <a:gd name="connsiteX7" fmla="*/ 5815533 w 7771334"/>
              <a:gd name="connsiteY7" fmla="*/ 193514 h 193514"/>
              <a:gd name="connsiteX8" fmla="*/ 5485334 w 7771334"/>
              <a:gd name="connsiteY8" fmla="*/ 193514 h 193514"/>
              <a:gd name="connsiteX9" fmla="*/ 2977588 w 7771334"/>
              <a:gd name="connsiteY9" fmla="*/ 193514 h 193514"/>
              <a:gd name="connsiteX10" fmla="*/ 2742666 w 7771334"/>
              <a:gd name="connsiteY10" fmla="*/ 193514 h 193514"/>
              <a:gd name="connsiteX11" fmla="*/ 0 w 7771334"/>
              <a:gd name="connsiteY11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771334" h="193514">
                <a:moveTo>
                  <a:pt x="0" y="0"/>
                </a:moveTo>
                <a:lnTo>
                  <a:pt x="2742666" y="0"/>
                </a:lnTo>
                <a:lnTo>
                  <a:pt x="2977588" y="0"/>
                </a:lnTo>
                <a:lnTo>
                  <a:pt x="5485334" y="0"/>
                </a:lnTo>
                <a:lnTo>
                  <a:pt x="5815533" y="0"/>
                </a:lnTo>
                <a:lnTo>
                  <a:pt x="7771334" y="0"/>
                </a:lnTo>
                <a:lnTo>
                  <a:pt x="7771334" y="193514"/>
                </a:lnTo>
                <a:lnTo>
                  <a:pt x="5815533" y="193514"/>
                </a:lnTo>
                <a:lnTo>
                  <a:pt x="5485334" y="193514"/>
                </a:lnTo>
                <a:lnTo>
                  <a:pt x="2977588" y="193514"/>
                </a:lnTo>
                <a:lnTo>
                  <a:pt x="2742666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48" hasCustomPrompt="1"/>
          </p:nvPr>
        </p:nvSpPr>
        <p:spPr bwMode="auto">
          <a:xfrm>
            <a:off x="686333" y="2980362"/>
            <a:ext cx="7326706" cy="137160"/>
          </a:xfrm>
          <a:custGeom>
            <a:avLst/>
            <a:gdLst>
              <a:gd name="connsiteX0" fmla="*/ 0 w 7326706"/>
              <a:gd name="connsiteY0" fmla="*/ 0 h 137160"/>
              <a:gd name="connsiteX1" fmla="*/ 2742666 w 7326706"/>
              <a:gd name="connsiteY1" fmla="*/ 0 h 137160"/>
              <a:gd name="connsiteX2" fmla="*/ 3047467 w 7326706"/>
              <a:gd name="connsiteY2" fmla="*/ 0 h 137160"/>
              <a:gd name="connsiteX3" fmla="*/ 7326706 w 7326706"/>
              <a:gd name="connsiteY3" fmla="*/ 0 h 137160"/>
              <a:gd name="connsiteX4" fmla="*/ 7326706 w 7326706"/>
              <a:gd name="connsiteY4" fmla="*/ 137160 h 137160"/>
              <a:gd name="connsiteX5" fmla="*/ 3047467 w 7326706"/>
              <a:gd name="connsiteY5" fmla="*/ 137160 h 137160"/>
              <a:gd name="connsiteX6" fmla="*/ 2742666 w 7326706"/>
              <a:gd name="connsiteY6" fmla="*/ 137160 h 137160"/>
              <a:gd name="connsiteX7" fmla="*/ 0 w 7326706"/>
              <a:gd name="connsiteY7" fmla="*/ 137160 h 13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26706" h="137160">
                <a:moveTo>
                  <a:pt x="0" y="0"/>
                </a:moveTo>
                <a:lnTo>
                  <a:pt x="2742666" y="0"/>
                </a:lnTo>
                <a:lnTo>
                  <a:pt x="3047467" y="0"/>
                </a:lnTo>
                <a:lnTo>
                  <a:pt x="7326706" y="0"/>
                </a:lnTo>
                <a:lnTo>
                  <a:pt x="7326706" y="137160"/>
                </a:lnTo>
                <a:lnTo>
                  <a:pt x="3047467" y="137160"/>
                </a:lnTo>
                <a:lnTo>
                  <a:pt x="2742666" y="137160"/>
                </a:lnTo>
                <a:lnTo>
                  <a:pt x="0" y="137160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285920243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29259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814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7035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08"/>
          </p:nvPr>
        </p:nvSpPr>
        <p:spPr bwMode="auto">
          <a:xfrm>
            <a:off x="539494" y="3325250"/>
            <a:ext cx="8065010" cy="1810987"/>
          </a:xfrm>
          <a:custGeom>
            <a:avLst/>
            <a:gdLst>
              <a:gd name="connsiteX0" fmla="*/ 0 w 8065010"/>
              <a:gd name="connsiteY0" fmla="*/ 0 h 1810987"/>
              <a:gd name="connsiteX1" fmla="*/ 2842067 w 8065010"/>
              <a:gd name="connsiteY1" fmla="*/ 0 h 1810987"/>
              <a:gd name="connsiteX2" fmla="*/ 2994225 w 8065010"/>
              <a:gd name="connsiteY2" fmla="*/ 0 h 1810987"/>
              <a:gd name="connsiteX3" fmla="*/ 5485336 w 8065010"/>
              <a:gd name="connsiteY3" fmla="*/ 0 h 1810987"/>
              <a:gd name="connsiteX4" fmla="*/ 5515232 w 8065010"/>
              <a:gd name="connsiteY4" fmla="*/ 0 h 1810987"/>
              <a:gd name="connsiteX5" fmla="*/ 8065010 w 8065010"/>
              <a:gd name="connsiteY5" fmla="*/ 0 h 1810987"/>
              <a:gd name="connsiteX6" fmla="*/ 8065010 w 8065010"/>
              <a:gd name="connsiteY6" fmla="*/ 1810987 h 1810987"/>
              <a:gd name="connsiteX7" fmla="*/ 5515232 w 8065010"/>
              <a:gd name="connsiteY7" fmla="*/ 1810987 h 1810987"/>
              <a:gd name="connsiteX8" fmla="*/ 5485336 w 8065010"/>
              <a:gd name="connsiteY8" fmla="*/ 1810987 h 1810987"/>
              <a:gd name="connsiteX9" fmla="*/ 2994225 w 8065010"/>
              <a:gd name="connsiteY9" fmla="*/ 1810987 h 1810987"/>
              <a:gd name="connsiteX10" fmla="*/ 2842067 w 8065010"/>
              <a:gd name="connsiteY10" fmla="*/ 1810987 h 1810987"/>
              <a:gd name="connsiteX11" fmla="*/ 0 w 8065010"/>
              <a:gd name="connsiteY11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065010" h="1810987">
                <a:moveTo>
                  <a:pt x="0" y="0"/>
                </a:moveTo>
                <a:lnTo>
                  <a:pt x="2842067" y="0"/>
                </a:lnTo>
                <a:lnTo>
                  <a:pt x="2994225" y="0"/>
                </a:lnTo>
                <a:lnTo>
                  <a:pt x="5485336" y="0"/>
                </a:lnTo>
                <a:lnTo>
                  <a:pt x="5515232" y="0"/>
                </a:lnTo>
                <a:lnTo>
                  <a:pt x="8065010" y="0"/>
                </a:lnTo>
                <a:lnTo>
                  <a:pt x="8065010" y="1810987"/>
                </a:lnTo>
                <a:lnTo>
                  <a:pt x="5515232" y="1810987"/>
                </a:lnTo>
                <a:lnTo>
                  <a:pt x="5485336" y="1810987"/>
                </a:lnTo>
                <a:lnTo>
                  <a:pt x="2994225" y="1810987"/>
                </a:lnTo>
                <a:lnTo>
                  <a:pt x="28420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8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1447"/>
            <a:ext cx="77724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10"/>
          </p:nvPr>
        </p:nvSpPr>
        <p:spPr bwMode="auto">
          <a:xfrm>
            <a:off x="686332" y="3443751"/>
            <a:ext cx="7771335" cy="193514"/>
          </a:xfrm>
          <a:custGeom>
            <a:avLst/>
            <a:gdLst>
              <a:gd name="connsiteX0" fmla="*/ 0 w 7771335"/>
              <a:gd name="connsiteY0" fmla="*/ 0 h 193514"/>
              <a:gd name="connsiteX1" fmla="*/ 5485335 w 7771335"/>
              <a:gd name="connsiteY1" fmla="*/ 0 h 193514"/>
              <a:gd name="connsiteX2" fmla="*/ 6098289 w 7771335"/>
              <a:gd name="connsiteY2" fmla="*/ 0 h 193514"/>
              <a:gd name="connsiteX3" fmla="*/ 7771335 w 7771335"/>
              <a:gd name="connsiteY3" fmla="*/ 0 h 193514"/>
              <a:gd name="connsiteX4" fmla="*/ 7771335 w 7771335"/>
              <a:gd name="connsiteY4" fmla="*/ 193514 h 193514"/>
              <a:gd name="connsiteX5" fmla="*/ 6098289 w 7771335"/>
              <a:gd name="connsiteY5" fmla="*/ 193514 h 193514"/>
              <a:gd name="connsiteX6" fmla="*/ 5485335 w 7771335"/>
              <a:gd name="connsiteY6" fmla="*/ 193514 h 193514"/>
              <a:gd name="connsiteX7" fmla="*/ 0 w 7771335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71335" h="193514">
                <a:moveTo>
                  <a:pt x="0" y="0"/>
                </a:moveTo>
                <a:lnTo>
                  <a:pt x="5485335" y="0"/>
                </a:lnTo>
                <a:lnTo>
                  <a:pt x="6098289" y="0"/>
                </a:lnTo>
                <a:lnTo>
                  <a:pt x="7771335" y="0"/>
                </a:lnTo>
                <a:lnTo>
                  <a:pt x="7771335" y="193514"/>
                </a:lnTo>
                <a:lnTo>
                  <a:pt x="6098289" y="193514"/>
                </a:lnTo>
                <a:lnTo>
                  <a:pt x="5485335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1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9223"/>
            <a:ext cx="77724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29259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814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33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7035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4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35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43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29259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814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7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7035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8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9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8" name="Content Placeholder 67"/>
          <p:cNvSpPr>
            <a:spLocks noGrp="1"/>
          </p:cNvSpPr>
          <p:nvPr>
            <p:ph sz="quarter" idx="139" hasCustomPrompt="1"/>
          </p:nvPr>
        </p:nvSpPr>
        <p:spPr bwMode="auto">
          <a:xfrm>
            <a:off x="686332" y="3720329"/>
            <a:ext cx="7771335" cy="1124712"/>
          </a:xfrm>
          <a:custGeom>
            <a:avLst/>
            <a:gdLst>
              <a:gd name="connsiteX0" fmla="*/ 0 w 7771335"/>
              <a:gd name="connsiteY0" fmla="*/ 0 h 1124712"/>
              <a:gd name="connsiteX1" fmla="*/ 5485335 w 7771335"/>
              <a:gd name="connsiteY1" fmla="*/ 0 h 1124712"/>
              <a:gd name="connsiteX2" fmla="*/ 6098289 w 7771335"/>
              <a:gd name="connsiteY2" fmla="*/ 0 h 1124712"/>
              <a:gd name="connsiteX3" fmla="*/ 7771335 w 7771335"/>
              <a:gd name="connsiteY3" fmla="*/ 0 h 1124712"/>
              <a:gd name="connsiteX4" fmla="*/ 7771335 w 7771335"/>
              <a:gd name="connsiteY4" fmla="*/ 1124712 h 1124712"/>
              <a:gd name="connsiteX5" fmla="*/ 6098289 w 7771335"/>
              <a:gd name="connsiteY5" fmla="*/ 1124712 h 1124712"/>
              <a:gd name="connsiteX6" fmla="*/ 5485335 w 7771335"/>
              <a:gd name="connsiteY6" fmla="*/ 1124712 h 1124712"/>
              <a:gd name="connsiteX7" fmla="*/ 0 w 7771335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71335" h="1124712">
                <a:moveTo>
                  <a:pt x="0" y="0"/>
                </a:moveTo>
                <a:lnTo>
                  <a:pt x="5485335" y="0"/>
                </a:lnTo>
                <a:lnTo>
                  <a:pt x="6098289" y="0"/>
                </a:lnTo>
                <a:lnTo>
                  <a:pt x="7771335" y="0"/>
                </a:lnTo>
                <a:lnTo>
                  <a:pt x="7771335" y="1124712"/>
                </a:lnTo>
                <a:lnTo>
                  <a:pt x="6098289" y="1124712"/>
                </a:lnTo>
                <a:lnTo>
                  <a:pt x="5485335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0" name="Text Placeholder 69"/>
          <p:cNvSpPr>
            <a:spLocks noGrp="1"/>
          </p:cNvSpPr>
          <p:nvPr>
            <p:ph type="body" sz="quarter" idx="141" hasCustomPrompt="1"/>
          </p:nvPr>
        </p:nvSpPr>
        <p:spPr bwMode="auto">
          <a:xfrm>
            <a:off x="686333" y="4922550"/>
            <a:ext cx="7326707" cy="137160"/>
          </a:xfrm>
          <a:custGeom>
            <a:avLst/>
            <a:gdLst>
              <a:gd name="connsiteX0" fmla="*/ 0 w 7326707"/>
              <a:gd name="connsiteY0" fmla="*/ 0 h 137160"/>
              <a:gd name="connsiteX1" fmla="*/ 5485334 w 7326707"/>
              <a:gd name="connsiteY1" fmla="*/ 0 h 137160"/>
              <a:gd name="connsiteX2" fmla="*/ 5581117 w 7326707"/>
              <a:gd name="connsiteY2" fmla="*/ 0 h 137160"/>
              <a:gd name="connsiteX3" fmla="*/ 7326707 w 7326707"/>
              <a:gd name="connsiteY3" fmla="*/ 0 h 137160"/>
              <a:gd name="connsiteX4" fmla="*/ 7326707 w 7326707"/>
              <a:gd name="connsiteY4" fmla="*/ 137160 h 137160"/>
              <a:gd name="connsiteX5" fmla="*/ 5581117 w 7326707"/>
              <a:gd name="connsiteY5" fmla="*/ 137160 h 137160"/>
              <a:gd name="connsiteX6" fmla="*/ 5485334 w 7326707"/>
              <a:gd name="connsiteY6" fmla="*/ 137160 h 137160"/>
              <a:gd name="connsiteX7" fmla="*/ 0 w 7326707"/>
              <a:gd name="connsiteY7" fmla="*/ 137160 h 13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26707" h="137160">
                <a:moveTo>
                  <a:pt x="0" y="0"/>
                </a:moveTo>
                <a:lnTo>
                  <a:pt x="5485334" y="0"/>
                </a:lnTo>
                <a:lnTo>
                  <a:pt x="5581117" y="0"/>
                </a:lnTo>
                <a:lnTo>
                  <a:pt x="7326707" y="0"/>
                </a:lnTo>
                <a:lnTo>
                  <a:pt x="7326707" y="137160"/>
                </a:lnTo>
                <a:lnTo>
                  <a:pt x="5581117" y="137160"/>
                </a:lnTo>
                <a:lnTo>
                  <a:pt x="5485334" y="137160"/>
                </a:lnTo>
                <a:lnTo>
                  <a:pt x="0" y="137160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37011325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1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52196" y="1562100"/>
            <a:ext cx="8065008" cy="33552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102729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33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4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ource:</a:t>
            </a:r>
            <a:endParaRPr lang="en-US" dirty="0"/>
          </a:p>
        </p:txBody>
      </p:sp>
      <p:sp>
        <p:nvSpPr>
          <p:cNvPr id="135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36" name="Text Placeholder 14"/>
          <p:cNvSpPr>
            <a:spLocks noGrp="1"/>
          </p:cNvSpPr>
          <p:nvPr>
            <p:ph type="body" sz="quarter" idx="122"/>
          </p:nvPr>
        </p:nvSpPr>
        <p:spPr>
          <a:xfrm>
            <a:off x="3282163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7" name="Picture Placeholder 11"/>
          <p:cNvSpPr>
            <a:spLocks noGrp="1"/>
          </p:cNvSpPr>
          <p:nvPr>
            <p:ph type="pic" sz="quarter" idx="123"/>
          </p:nvPr>
        </p:nvSpPr>
        <p:spPr>
          <a:xfrm>
            <a:off x="3429000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8" name="Text Placeholder 10"/>
          <p:cNvSpPr>
            <a:spLocks noGrp="1"/>
          </p:cNvSpPr>
          <p:nvPr>
            <p:ph type="body" sz="quarter" idx="124"/>
          </p:nvPr>
        </p:nvSpPr>
        <p:spPr>
          <a:xfrm>
            <a:off x="3429000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9" name="Content Placeholder 4"/>
          <p:cNvSpPr>
            <a:spLocks noGrp="1"/>
          </p:cNvSpPr>
          <p:nvPr>
            <p:ph sz="quarter" idx="125" hasCustomPrompt="1"/>
          </p:nvPr>
        </p:nvSpPr>
        <p:spPr>
          <a:xfrm>
            <a:off x="3429000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0" name="Picture Placeholder 11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1" name="Text Placeholder 6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ource:</a:t>
            </a:r>
            <a:endParaRPr lang="en-US" dirty="0"/>
          </a:p>
        </p:txBody>
      </p:sp>
      <p:sp>
        <p:nvSpPr>
          <p:cNvPr id="142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29"/>
          </p:nvPr>
        </p:nvSpPr>
        <p:spPr bwMode="auto">
          <a:xfrm>
            <a:off x="6024830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254203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254203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254203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254203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5" name="Content Placeholder 74"/>
          <p:cNvSpPr>
            <a:spLocks noGrp="1"/>
          </p:cNvSpPr>
          <p:nvPr>
            <p:ph sz="quarter" idx="132" hasCustomPrompt="1"/>
          </p:nvPr>
        </p:nvSpPr>
        <p:spPr bwMode="auto">
          <a:xfrm>
            <a:off x="6171667" y="1775363"/>
            <a:ext cx="2286000" cy="3066901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177951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177951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177951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177951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54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5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ource:</a:t>
            </a:r>
            <a:endParaRPr lang="en-US" dirty="0"/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9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1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2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3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4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ource:</a:t>
            </a:r>
            <a:endParaRPr lang="en-US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8" name="Text Placeholder 14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0" name="Text Placeholder 10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1" name="Content Placeholder 4"/>
          <p:cNvSpPr>
            <a:spLocks noGrp="1"/>
          </p:cNvSpPr>
          <p:nvPr>
            <p:ph sz="quarter" idx="111" hasCustomPrompt="1"/>
          </p:nvPr>
        </p:nvSpPr>
        <p:spPr>
          <a:xfrm>
            <a:off x="686333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2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ource:</a:t>
            </a:r>
            <a:endParaRPr lang="en-US" dirty="0"/>
          </a:p>
        </p:txBody>
      </p:sp>
      <p:sp>
        <p:nvSpPr>
          <p:cNvPr id="74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42588046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43"/>
          </p:nvPr>
        </p:nvSpPr>
        <p:spPr bwMode="auto">
          <a:xfrm>
            <a:off x="3282163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060689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060689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060689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060689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144"/>
          </p:nvPr>
        </p:nvSpPr>
        <p:spPr>
          <a:xfrm>
            <a:off x="3447728" y="172963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45"/>
          </p:nvPr>
        </p:nvSpPr>
        <p:spPr>
          <a:xfrm>
            <a:off x="3447728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7" name="Content Placeholder 66"/>
          <p:cNvSpPr>
            <a:spLocks noGrp="1"/>
          </p:cNvSpPr>
          <p:nvPr>
            <p:ph sz="quarter" idx="146" hasCustomPrompt="1"/>
          </p:nvPr>
        </p:nvSpPr>
        <p:spPr bwMode="auto">
          <a:xfrm>
            <a:off x="3447728" y="1793703"/>
            <a:ext cx="2286000" cy="2967920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081307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081307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081307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081307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8" name="Picture Placeholder 11"/>
          <p:cNvSpPr>
            <a:spLocks noGrp="1"/>
          </p:cNvSpPr>
          <p:nvPr>
            <p:ph type="pic" sz="quarter" idx="147"/>
          </p:nvPr>
        </p:nvSpPr>
        <p:spPr>
          <a:xfrm>
            <a:off x="3447728" y="481715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3447728" y="488183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149" hasCustomPrompt="1"/>
          </p:nvPr>
        </p:nvSpPr>
        <p:spPr>
          <a:xfrm>
            <a:off x="5289101" y="488183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9"/>
          </p:nvPr>
        </p:nvSpPr>
        <p:spPr bwMode="auto">
          <a:xfrm>
            <a:off x="6024830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254203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254203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254203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254203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981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2" name="Content Placeholder 71"/>
          <p:cNvSpPr>
            <a:spLocks noGrp="1"/>
          </p:cNvSpPr>
          <p:nvPr>
            <p:ph sz="quarter" idx="132" hasCustomPrompt="1"/>
          </p:nvPr>
        </p:nvSpPr>
        <p:spPr bwMode="auto">
          <a:xfrm>
            <a:off x="6171667" y="1793703"/>
            <a:ext cx="2286000" cy="2967920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177951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177951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177951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177951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3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1715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4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88183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88183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981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8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9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93703"/>
            <a:ext cx="2286000" cy="108803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80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2647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1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2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50"/>
          </p:nvPr>
        </p:nvSpPr>
        <p:spPr>
          <a:xfrm>
            <a:off x="539496" y="3319154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1"/>
          <p:cNvSpPr>
            <a:spLocks noGrp="1"/>
          </p:cNvSpPr>
          <p:nvPr>
            <p:ph type="pic" sz="quarter" idx="151"/>
          </p:nvPr>
        </p:nvSpPr>
        <p:spPr>
          <a:xfrm>
            <a:off x="686333" y="3675910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7" name="Text Placeholder 10"/>
          <p:cNvSpPr>
            <a:spLocks noGrp="1"/>
          </p:cNvSpPr>
          <p:nvPr>
            <p:ph type="body" sz="quarter" idx="152"/>
          </p:nvPr>
        </p:nvSpPr>
        <p:spPr>
          <a:xfrm>
            <a:off x="686333" y="3437655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153" hasCustomPrompt="1"/>
          </p:nvPr>
        </p:nvSpPr>
        <p:spPr>
          <a:xfrm>
            <a:off x="686333" y="3729795"/>
            <a:ext cx="2286000" cy="108803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9" name="Picture Placeholder 11"/>
          <p:cNvSpPr>
            <a:spLocks noGrp="1"/>
          </p:cNvSpPr>
          <p:nvPr>
            <p:ph type="pic" sz="quarter" idx="154"/>
          </p:nvPr>
        </p:nvSpPr>
        <p:spPr>
          <a:xfrm>
            <a:off x="686333" y="4862568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155" hasCustomPrompt="1"/>
          </p:nvPr>
        </p:nvSpPr>
        <p:spPr>
          <a:xfrm>
            <a:off x="686333" y="4916454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156" hasCustomPrompt="1"/>
          </p:nvPr>
        </p:nvSpPr>
        <p:spPr>
          <a:xfrm>
            <a:off x="2527706" y="4916454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227965627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060689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060689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060689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060689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42447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3" name="Content Placeholder 62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3" y="1798963"/>
            <a:ext cx="2286000" cy="3026354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081307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081307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081307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081307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4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49001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88183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6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88183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9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84636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2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41151"/>
            <a:ext cx="2286000" cy="1068374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3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41105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88183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88183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43"/>
          </p:nvPr>
        </p:nvSpPr>
        <p:spPr bwMode="auto">
          <a:xfrm>
            <a:off x="3282163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060689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060689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060689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060689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144"/>
          </p:nvPr>
        </p:nvSpPr>
        <p:spPr>
          <a:xfrm>
            <a:off x="3447728" y="1742447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45"/>
          </p:nvPr>
        </p:nvSpPr>
        <p:spPr>
          <a:xfrm>
            <a:off x="3447728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7" name="Content Placeholder 66"/>
          <p:cNvSpPr>
            <a:spLocks noGrp="1"/>
          </p:cNvSpPr>
          <p:nvPr>
            <p:ph sz="quarter" idx="146" hasCustomPrompt="1"/>
          </p:nvPr>
        </p:nvSpPr>
        <p:spPr bwMode="auto">
          <a:xfrm>
            <a:off x="3447728" y="1783171"/>
            <a:ext cx="2286000" cy="3026354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081307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081307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081307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081307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8" name="Picture Placeholder 11"/>
          <p:cNvSpPr>
            <a:spLocks noGrp="1"/>
          </p:cNvSpPr>
          <p:nvPr>
            <p:ph type="pic" sz="quarter" idx="147"/>
          </p:nvPr>
        </p:nvSpPr>
        <p:spPr>
          <a:xfrm>
            <a:off x="3447728" y="4841105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3447728" y="488183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149" hasCustomPrompt="1"/>
          </p:nvPr>
        </p:nvSpPr>
        <p:spPr>
          <a:xfrm>
            <a:off x="5289101" y="488183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150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1"/>
          <p:cNvSpPr>
            <a:spLocks noGrp="1"/>
          </p:cNvSpPr>
          <p:nvPr>
            <p:ph type="pic" sz="quarter" idx="151"/>
          </p:nvPr>
        </p:nvSpPr>
        <p:spPr>
          <a:xfrm>
            <a:off x="6171667" y="1742448"/>
            <a:ext cx="2286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152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7" name="Content Placeholder 4"/>
          <p:cNvSpPr>
            <a:spLocks noGrp="1"/>
          </p:cNvSpPr>
          <p:nvPr>
            <p:ph sz="quarter" idx="153" hasCustomPrompt="1"/>
          </p:nvPr>
        </p:nvSpPr>
        <p:spPr>
          <a:xfrm>
            <a:off x="6171667" y="1798963"/>
            <a:ext cx="2286000" cy="1068374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8" name="Picture Placeholder 11"/>
          <p:cNvSpPr>
            <a:spLocks noGrp="1"/>
          </p:cNvSpPr>
          <p:nvPr>
            <p:ph type="pic" sz="quarter" idx="154"/>
          </p:nvPr>
        </p:nvSpPr>
        <p:spPr>
          <a:xfrm>
            <a:off x="6171667" y="2898917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155" hasCustomPrompt="1"/>
          </p:nvPr>
        </p:nvSpPr>
        <p:spPr>
          <a:xfrm>
            <a:off x="6171667" y="293964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56" hasCustomPrompt="1"/>
          </p:nvPr>
        </p:nvSpPr>
        <p:spPr>
          <a:xfrm>
            <a:off x="8013040" y="293964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235367517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060689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060689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060689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060689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44243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3" name="Content Placeholder 62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3" y="1802553"/>
            <a:ext cx="2286000" cy="2971800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081307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081307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081307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081307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4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23519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88183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6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88183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143"/>
          </p:nvPr>
        </p:nvSpPr>
        <p:spPr bwMode="auto">
          <a:xfrm>
            <a:off x="3282163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060689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060689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060689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060689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144"/>
          </p:nvPr>
        </p:nvSpPr>
        <p:spPr>
          <a:xfrm>
            <a:off x="3447728" y="1744243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45"/>
          </p:nvPr>
        </p:nvSpPr>
        <p:spPr>
          <a:xfrm>
            <a:off x="3447728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7" name="Content Placeholder 66"/>
          <p:cNvSpPr>
            <a:spLocks noGrp="1"/>
          </p:cNvSpPr>
          <p:nvPr>
            <p:ph sz="quarter" idx="146" hasCustomPrompt="1"/>
          </p:nvPr>
        </p:nvSpPr>
        <p:spPr bwMode="auto">
          <a:xfrm>
            <a:off x="3447728" y="1802553"/>
            <a:ext cx="2286000" cy="2971800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081307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081307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081307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081307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8" name="Picture Placeholder 11"/>
          <p:cNvSpPr>
            <a:spLocks noGrp="1"/>
          </p:cNvSpPr>
          <p:nvPr>
            <p:ph type="pic" sz="quarter" idx="147"/>
          </p:nvPr>
        </p:nvSpPr>
        <p:spPr>
          <a:xfrm>
            <a:off x="3447728" y="4823519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9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3447728" y="488183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6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149" hasCustomPrompt="1"/>
          </p:nvPr>
        </p:nvSpPr>
        <p:spPr>
          <a:xfrm>
            <a:off x="5289101" y="488183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29"/>
          </p:nvPr>
        </p:nvSpPr>
        <p:spPr bwMode="auto">
          <a:xfrm>
            <a:off x="6024830" y="1383062"/>
            <a:ext cx="2579674" cy="3753175"/>
          </a:xfrm>
          <a:custGeom>
            <a:avLst/>
            <a:gdLst>
              <a:gd name="connsiteX0" fmla="*/ 0 w 2579674"/>
              <a:gd name="connsiteY0" fmla="*/ 0 h 3753175"/>
              <a:gd name="connsiteX1" fmla="*/ 2579674 w 2579674"/>
              <a:gd name="connsiteY1" fmla="*/ 0 h 3753175"/>
              <a:gd name="connsiteX2" fmla="*/ 2579674 w 2579674"/>
              <a:gd name="connsiteY2" fmla="*/ 1942188 h 3753175"/>
              <a:gd name="connsiteX3" fmla="*/ 2579674 w 2579674"/>
              <a:gd name="connsiteY3" fmla="*/ 2254203 h 3753175"/>
              <a:gd name="connsiteX4" fmla="*/ 2579674 w 2579674"/>
              <a:gd name="connsiteY4" fmla="*/ 3753175 h 3753175"/>
              <a:gd name="connsiteX5" fmla="*/ 0 w 2579674"/>
              <a:gd name="connsiteY5" fmla="*/ 3753175 h 3753175"/>
              <a:gd name="connsiteX6" fmla="*/ 0 w 2579674"/>
              <a:gd name="connsiteY6" fmla="*/ 2254203 h 3753175"/>
              <a:gd name="connsiteX7" fmla="*/ 0 w 2579674"/>
              <a:gd name="connsiteY7" fmla="*/ 1942188 h 375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9674" h="3753175">
                <a:moveTo>
                  <a:pt x="0" y="0"/>
                </a:moveTo>
                <a:lnTo>
                  <a:pt x="2579674" y="0"/>
                </a:lnTo>
                <a:lnTo>
                  <a:pt x="2579674" y="1942188"/>
                </a:lnTo>
                <a:lnTo>
                  <a:pt x="2579674" y="2254203"/>
                </a:lnTo>
                <a:lnTo>
                  <a:pt x="2579674" y="3753175"/>
                </a:lnTo>
                <a:lnTo>
                  <a:pt x="0" y="3753175"/>
                </a:lnTo>
                <a:lnTo>
                  <a:pt x="0" y="2254203"/>
                </a:lnTo>
                <a:lnTo>
                  <a:pt x="0" y="1942188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54423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2" name="Content Placeholder 71"/>
          <p:cNvSpPr>
            <a:spLocks noGrp="1"/>
          </p:cNvSpPr>
          <p:nvPr>
            <p:ph sz="quarter" idx="132" hasCustomPrompt="1"/>
          </p:nvPr>
        </p:nvSpPr>
        <p:spPr bwMode="auto">
          <a:xfrm>
            <a:off x="6171667" y="1822913"/>
            <a:ext cx="2286000" cy="2971800"/>
          </a:xfrm>
          <a:custGeom>
            <a:avLst/>
            <a:gdLst>
              <a:gd name="connsiteX0" fmla="*/ 0 w 2286000"/>
              <a:gd name="connsiteY0" fmla="*/ 0 h 3066901"/>
              <a:gd name="connsiteX1" fmla="*/ 2286000 w 2286000"/>
              <a:gd name="connsiteY1" fmla="*/ 0 h 3066901"/>
              <a:gd name="connsiteX2" fmla="*/ 2286000 w 2286000"/>
              <a:gd name="connsiteY2" fmla="*/ 1942189 h 3066901"/>
              <a:gd name="connsiteX3" fmla="*/ 2286000 w 2286000"/>
              <a:gd name="connsiteY3" fmla="*/ 2177951 h 3066901"/>
              <a:gd name="connsiteX4" fmla="*/ 2286000 w 2286000"/>
              <a:gd name="connsiteY4" fmla="*/ 3066901 h 3066901"/>
              <a:gd name="connsiteX5" fmla="*/ 0 w 2286000"/>
              <a:gd name="connsiteY5" fmla="*/ 3066901 h 3066901"/>
              <a:gd name="connsiteX6" fmla="*/ 0 w 2286000"/>
              <a:gd name="connsiteY6" fmla="*/ 2177951 h 3066901"/>
              <a:gd name="connsiteX7" fmla="*/ 0 w 2286000"/>
              <a:gd name="connsiteY7" fmla="*/ 1942189 h 3066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1">
                <a:moveTo>
                  <a:pt x="0" y="0"/>
                </a:moveTo>
                <a:lnTo>
                  <a:pt x="2286000" y="0"/>
                </a:lnTo>
                <a:lnTo>
                  <a:pt x="2286000" y="1942189"/>
                </a:lnTo>
                <a:lnTo>
                  <a:pt x="2286000" y="2177951"/>
                </a:lnTo>
                <a:lnTo>
                  <a:pt x="2286000" y="3066901"/>
                </a:lnTo>
                <a:lnTo>
                  <a:pt x="0" y="3066901"/>
                </a:lnTo>
                <a:lnTo>
                  <a:pt x="0" y="2177951"/>
                </a:lnTo>
                <a:lnTo>
                  <a:pt x="0" y="1942189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3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54059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4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247680655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2186357" y="2924270"/>
            <a:ext cx="3124424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14"/>
          <p:cNvSpPr>
            <a:spLocks noGrp="1"/>
          </p:cNvSpPr>
          <p:nvPr>
            <p:ph type="body" sz="quarter" idx="45"/>
          </p:nvPr>
        </p:nvSpPr>
        <p:spPr>
          <a:xfrm>
            <a:off x="2186357" y="507399"/>
            <a:ext cx="3124424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3" name="Picture Placeholder 11"/>
          <p:cNvSpPr>
            <a:spLocks noGrp="1"/>
          </p:cNvSpPr>
          <p:nvPr>
            <p:ph type="pic" sz="quarter" idx="46"/>
          </p:nvPr>
        </p:nvSpPr>
        <p:spPr>
          <a:xfrm>
            <a:off x="2358681" y="886375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4" name="Content Placeholder 4"/>
          <p:cNvSpPr>
            <a:spLocks noGrp="1"/>
          </p:cNvSpPr>
          <p:nvPr>
            <p:ph sz="quarter" idx="47" hasCustomPrompt="1"/>
          </p:nvPr>
        </p:nvSpPr>
        <p:spPr>
          <a:xfrm>
            <a:off x="2358681" y="955336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5" name="Text Placeholder 10"/>
          <p:cNvSpPr>
            <a:spLocks noGrp="1"/>
          </p:cNvSpPr>
          <p:nvPr>
            <p:ph type="body" sz="quarter" idx="48"/>
          </p:nvPr>
        </p:nvSpPr>
        <p:spPr>
          <a:xfrm>
            <a:off x="2358681" y="638600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8" name="Picture Placeholder 11"/>
          <p:cNvSpPr>
            <a:spLocks noGrp="1"/>
          </p:cNvSpPr>
          <p:nvPr>
            <p:ph type="pic" sz="quarter" idx="51"/>
          </p:nvPr>
        </p:nvSpPr>
        <p:spPr>
          <a:xfrm>
            <a:off x="2358681" y="2479725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9" name="Text Placeholder 14"/>
          <p:cNvSpPr>
            <a:spLocks noGrp="1"/>
          </p:cNvSpPr>
          <p:nvPr>
            <p:ph type="body" sz="quarter" idx="52"/>
          </p:nvPr>
        </p:nvSpPr>
        <p:spPr>
          <a:xfrm>
            <a:off x="5480077" y="2924270"/>
            <a:ext cx="3124424" cy="2281046"/>
          </a:xfrm>
          <a:solidFill>
            <a:srgbClr val="F1F1F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1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2358681" y="2543131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02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432225" y="254313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3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5480076" y="507399"/>
            <a:ext cx="3124424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75"/>
          </p:nvPr>
        </p:nvSpPr>
        <p:spPr>
          <a:xfrm>
            <a:off x="5652400" y="886375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Content Placeholder 4"/>
          <p:cNvSpPr>
            <a:spLocks noGrp="1"/>
          </p:cNvSpPr>
          <p:nvPr>
            <p:ph sz="quarter" idx="76" hasCustomPrompt="1"/>
          </p:nvPr>
        </p:nvSpPr>
        <p:spPr>
          <a:xfrm>
            <a:off x="5652400" y="955336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77"/>
          </p:nvPr>
        </p:nvSpPr>
        <p:spPr>
          <a:xfrm>
            <a:off x="5652400" y="638600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8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5652400" y="2479725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5652400" y="2543131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7725944" y="2544749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5" name="Picture Placeholder 11"/>
          <p:cNvSpPr>
            <a:spLocks noGrp="1"/>
          </p:cNvSpPr>
          <p:nvPr>
            <p:ph type="pic" sz="quarter" idx="81"/>
          </p:nvPr>
        </p:nvSpPr>
        <p:spPr>
          <a:xfrm>
            <a:off x="2358681" y="3304798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6" name="Text Placeholder 10"/>
          <p:cNvSpPr>
            <a:spLocks noGrp="1"/>
          </p:cNvSpPr>
          <p:nvPr>
            <p:ph type="body" sz="quarter" idx="82"/>
          </p:nvPr>
        </p:nvSpPr>
        <p:spPr>
          <a:xfrm>
            <a:off x="2358681" y="3055471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Picture Placeholder 11"/>
          <p:cNvSpPr>
            <a:spLocks noGrp="1"/>
          </p:cNvSpPr>
          <p:nvPr>
            <p:ph type="pic" sz="quarter" idx="83"/>
          </p:nvPr>
        </p:nvSpPr>
        <p:spPr>
          <a:xfrm>
            <a:off x="2358681" y="4895696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2358681" y="4960652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4432225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6" name="Content Placeholder 4"/>
          <p:cNvSpPr>
            <a:spLocks noGrp="1"/>
          </p:cNvSpPr>
          <p:nvPr>
            <p:ph sz="quarter" idx="86" hasCustomPrompt="1"/>
          </p:nvPr>
        </p:nvSpPr>
        <p:spPr>
          <a:xfrm>
            <a:off x="2358681" y="3369755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7" name="Picture Placeholder 11"/>
          <p:cNvSpPr>
            <a:spLocks noGrp="1"/>
          </p:cNvSpPr>
          <p:nvPr>
            <p:ph type="pic" sz="quarter" idx="87"/>
          </p:nvPr>
        </p:nvSpPr>
        <p:spPr>
          <a:xfrm>
            <a:off x="5652401" y="3304798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3" name="Text Placeholder 10"/>
          <p:cNvSpPr>
            <a:spLocks noGrp="1"/>
          </p:cNvSpPr>
          <p:nvPr>
            <p:ph type="body" sz="quarter" idx="88"/>
          </p:nvPr>
        </p:nvSpPr>
        <p:spPr>
          <a:xfrm>
            <a:off x="5652401" y="3055471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4" name="Picture Placeholder 11"/>
          <p:cNvSpPr>
            <a:spLocks noGrp="1"/>
          </p:cNvSpPr>
          <p:nvPr>
            <p:ph type="pic" sz="quarter" idx="89"/>
          </p:nvPr>
        </p:nvSpPr>
        <p:spPr>
          <a:xfrm>
            <a:off x="5652401" y="4895696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6" name="Text Placeholder 6"/>
          <p:cNvSpPr>
            <a:spLocks noGrp="1"/>
          </p:cNvSpPr>
          <p:nvPr>
            <p:ph type="body" sz="quarter" idx="90" hasCustomPrompt="1"/>
          </p:nvPr>
        </p:nvSpPr>
        <p:spPr>
          <a:xfrm>
            <a:off x="5652401" y="4960652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91" hasCustomPrompt="1"/>
          </p:nvPr>
        </p:nvSpPr>
        <p:spPr>
          <a:xfrm>
            <a:off x="7725945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1" name="Content Placeholder 4"/>
          <p:cNvSpPr>
            <a:spLocks noGrp="1"/>
          </p:cNvSpPr>
          <p:nvPr>
            <p:ph sz="quarter" idx="92" hasCustomPrompt="1"/>
          </p:nvPr>
        </p:nvSpPr>
        <p:spPr>
          <a:xfrm>
            <a:off x="5652401" y="3369755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</p:spTree>
    <p:extLst>
      <p:ext uri="{BB962C8B-B14F-4D97-AF65-F5344CB8AC3E}">
        <p14:creationId xmlns:p14="http://schemas.microsoft.com/office/powerpoint/2010/main" val="415539703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7126935" y="507397"/>
            <a:ext cx="1477565" cy="2047210"/>
          </a:xfrm>
        </p:spPr>
        <p:txBody>
          <a:bodyPr/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26935" y="1943101"/>
            <a:ext cx="1477565" cy="61150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539497" y="507399"/>
            <a:ext cx="641814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8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712760" y="2479725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712760" y="2543131"/>
            <a:ext cx="607161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6079085" y="2544749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6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712760" y="886375"/>
            <a:ext cx="607161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94"/>
          </p:nvPr>
        </p:nvSpPr>
        <p:spPr bwMode="auto">
          <a:xfrm>
            <a:off x="711820" y="63860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9" name="Content Placeholder 48"/>
          <p:cNvSpPr>
            <a:spLocks noGrp="1"/>
          </p:cNvSpPr>
          <p:nvPr>
            <p:ph sz="quarter" idx="96" hasCustomPrompt="1"/>
          </p:nvPr>
        </p:nvSpPr>
        <p:spPr bwMode="auto">
          <a:xfrm>
            <a:off x="711820" y="955336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3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39" y="3055471"/>
            <a:ext cx="1477562" cy="2149845"/>
          </a:xfrm>
        </p:spPr>
        <p:txBody>
          <a:bodyPr/>
          <a:lstStyle>
            <a:lvl1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52"/>
          </p:nvPr>
        </p:nvSpPr>
        <p:spPr>
          <a:xfrm>
            <a:off x="539497" y="2924270"/>
            <a:ext cx="3124424" cy="2281046"/>
          </a:xfrm>
          <a:solidFill>
            <a:srgbClr val="F1F1F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1"/>
          <p:cNvSpPr>
            <a:spLocks noGrp="1"/>
          </p:cNvSpPr>
          <p:nvPr>
            <p:ph type="pic" sz="quarter" idx="87"/>
          </p:nvPr>
        </p:nvSpPr>
        <p:spPr>
          <a:xfrm>
            <a:off x="711821" y="3303409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88"/>
          </p:nvPr>
        </p:nvSpPr>
        <p:spPr>
          <a:xfrm>
            <a:off x="711821" y="3055471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7" name="Picture Placeholder 11"/>
          <p:cNvSpPr>
            <a:spLocks noGrp="1"/>
          </p:cNvSpPr>
          <p:nvPr>
            <p:ph type="pic" sz="quarter" idx="89"/>
          </p:nvPr>
        </p:nvSpPr>
        <p:spPr>
          <a:xfrm>
            <a:off x="711821" y="4897085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90" hasCustomPrompt="1"/>
          </p:nvPr>
        </p:nvSpPr>
        <p:spPr>
          <a:xfrm>
            <a:off x="711821" y="4960652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91" hasCustomPrompt="1"/>
          </p:nvPr>
        </p:nvSpPr>
        <p:spPr>
          <a:xfrm>
            <a:off x="2785365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1" name="Content Placeholder 4"/>
          <p:cNvSpPr>
            <a:spLocks noGrp="1"/>
          </p:cNvSpPr>
          <p:nvPr>
            <p:ph sz="quarter" idx="92" hasCustomPrompt="1"/>
          </p:nvPr>
        </p:nvSpPr>
        <p:spPr>
          <a:xfrm>
            <a:off x="711821" y="3372533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97"/>
          </p:nvPr>
        </p:nvSpPr>
        <p:spPr>
          <a:xfrm>
            <a:off x="3833216" y="2924270"/>
            <a:ext cx="3124424" cy="2281046"/>
          </a:xfrm>
          <a:solidFill>
            <a:srgbClr val="F1F1F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1"/>
          <p:cNvSpPr>
            <a:spLocks noGrp="1"/>
          </p:cNvSpPr>
          <p:nvPr>
            <p:ph type="pic" sz="quarter" idx="98"/>
          </p:nvPr>
        </p:nvSpPr>
        <p:spPr>
          <a:xfrm>
            <a:off x="4005540" y="3303409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 Placeholder 10"/>
          <p:cNvSpPr>
            <a:spLocks noGrp="1"/>
          </p:cNvSpPr>
          <p:nvPr>
            <p:ph type="body" sz="quarter" idx="99"/>
          </p:nvPr>
        </p:nvSpPr>
        <p:spPr>
          <a:xfrm>
            <a:off x="4005540" y="3055471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Picture Placeholder 11"/>
          <p:cNvSpPr>
            <a:spLocks noGrp="1"/>
          </p:cNvSpPr>
          <p:nvPr>
            <p:ph type="pic" sz="quarter" idx="100"/>
          </p:nvPr>
        </p:nvSpPr>
        <p:spPr>
          <a:xfrm>
            <a:off x="4005540" y="4897085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101" hasCustomPrompt="1"/>
          </p:nvPr>
        </p:nvSpPr>
        <p:spPr>
          <a:xfrm>
            <a:off x="4005540" y="4960652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02" hasCustomPrompt="1"/>
          </p:nvPr>
        </p:nvSpPr>
        <p:spPr>
          <a:xfrm>
            <a:off x="6079084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1" name="Content Placeholder 4"/>
          <p:cNvSpPr>
            <a:spLocks noGrp="1"/>
          </p:cNvSpPr>
          <p:nvPr>
            <p:ph sz="quarter" idx="103" hasCustomPrompt="1"/>
          </p:nvPr>
        </p:nvSpPr>
        <p:spPr>
          <a:xfrm>
            <a:off x="4005540" y="3372533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</p:spTree>
    <p:extLst>
      <p:ext uri="{BB962C8B-B14F-4D97-AF65-F5344CB8AC3E}">
        <p14:creationId xmlns:p14="http://schemas.microsoft.com/office/powerpoint/2010/main" val="26896190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4"/>
          <p:cNvSpPr>
            <a:spLocks noGrp="1"/>
          </p:cNvSpPr>
          <p:nvPr>
            <p:ph type="body" sz="quarter" idx="59"/>
          </p:nvPr>
        </p:nvSpPr>
        <p:spPr>
          <a:xfrm>
            <a:off x="539496" y="1514476"/>
            <a:ext cx="2670429" cy="207526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11845" y="1886462"/>
            <a:ext cx="2326754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11514" y="1643209"/>
            <a:ext cx="2326055" cy="193514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1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395500" y="1643209"/>
            <a:ext cx="2209005" cy="35559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711844" y="3796805"/>
            <a:ext cx="2325725" cy="141183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0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3639833" y="3796805"/>
            <a:ext cx="2326255" cy="141183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708101" y="3343247"/>
            <a:ext cx="232675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711820" y="3402130"/>
            <a:ext cx="1619525" cy="1316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31345" y="3403548"/>
            <a:ext cx="706232" cy="130216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1" name="Content Placeholder 4"/>
          <p:cNvSpPr>
            <a:spLocks noGrp="1"/>
          </p:cNvSpPr>
          <p:nvPr>
            <p:ph sz="quarter" idx="80" hasCustomPrompt="1"/>
          </p:nvPr>
        </p:nvSpPr>
        <p:spPr>
          <a:xfrm>
            <a:off x="711820" y="1945345"/>
            <a:ext cx="2325757" cy="1348163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1" name="Text Placeholder 14"/>
          <p:cNvSpPr>
            <a:spLocks noGrp="1"/>
          </p:cNvSpPr>
          <p:nvPr>
            <p:ph type="body" sz="quarter" idx="89"/>
          </p:nvPr>
        </p:nvSpPr>
        <p:spPr>
          <a:xfrm>
            <a:off x="3467498" y="1514476"/>
            <a:ext cx="2670429" cy="207526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2" name="Picture Placeholder 11"/>
          <p:cNvSpPr>
            <a:spLocks noGrp="1"/>
          </p:cNvSpPr>
          <p:nvPr>
            <p:ph type="pic" sz="quarter" idx="90"/>
          </p:nvPr>
        </p:nvSpPr>
        <p:spPr>
          <a:xfrm>
            <a:off x="3639335" y="1886462"/>
            <a:ext cx="2326754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3" name="Text Placeholder 10"/>
          <p:cNvSpPr>
            <a:spLocks noGrp="1"/>
          </p:cNvSpPr>
          <p:nvPr>
            <p:ph type="body" sz="quarter" idx="91"/>
          </p:nvPr>
        </p:nvSpPr>
        <p:spPr>
          <a:xfrm>
            <a:off x="3639685" y="1643209"/>
            <a:ext cx="2326055" cy="193514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4" name="Picture Placeholder 11"/>
          <p:cNvSpPr>
            <a:spLocks noGrp="1"/>
          </p:cNvSpPr>
          <p:nvPr>
            <p:ph type="pic" sz="quarter" idx="92"/>
          </p:nvPr>
        </p:nvSpPr>
        <p:spPr>
          <a:xfrm>
            <a:off x="3639335" y="3343247"/>
            <a:ext cx="232675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93" hasCustomPrompt="1"/>
          </p:nvPr>
        </p:nvSpPr>
        <p:spPr>
          <a:xfrm>
            <a:off x="3639834" y="3402130"/>
            <a:ext cx="1619525" cy="1316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98" name="Text Placeholder 6"/>
          <p:cNvSpPr>
            <a:spLocks noGrp="1"/>
          </p:cNvSpPr>
          <p:nvPr>
            <p:ph type="body" sz="quarter" idx="94" hasCustomPrompt="1"/>
          </p:nvPr>
        </p:nvSpPr>
        <p:spPr>
          <a:xfrm>
            <a:off x="5259359" y="3403548"/>
            <a:ext cx="706232" cy="130216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9" name="Content Placeholder 4"/>
          <p:cNvSpPr>
            <a:spLocks noGrp="1"/>
          </p:cNvSpPr>
          <p:nvPr>
            <p:ph sz="quarter" idx="95" hasCustomPrompt="1"/>
          </p:nvPr>
        </p:nvSpPr>
        <p:spPr>
          <a:xfrm>
            <a:off x="3639834" y="1945345"/>
            <a:ext cx="2325757" cy="1348163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89976" y="5379242"/>
            <a:ext cx="220663" cy="8255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56790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4"/>
          <p:cNvSpPr>
            <a:spLocks noGrp="1"/>
          </p:cNvSpPr>
          <p:nvPr>
            <p:ph type="body" sz="quarter" idx="59"/>
          </p:nvPr>
        </p:nvSpPr>
        <p:spPr>
          <a:xfrm>
            <a:off x="5934075" y="1514476"/>
            <a:ext cx="2670429" cy="207526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105912" y="1886462"/>
            <a:ext cx="2326754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106262" y="1643209"/>
            <a:ext cx="2326055" cy="193514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1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6" y="1643209"/>
            <a:ext cx="2209005" cy="35559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6106427" y="3796805"/>
            <a:ext cx="2325725" cy="141183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0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3178160" y="3796805"/>
            <a:ext cx="2326255" cy="141183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105912" y="3343247"/>
            <a:ext cx="232675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106411" y="3402130"/>
            <a:ext cx="1619525" cy="1316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7725936" y="3403548"/>
            <a:ext cx="706232" cy="130216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1" name="Content Placeholder 4"/>
          <p:cNvSpPr>
            <a:spLocks noGrp="1"/>
          </p:cNvSpPr>
          <p:nvPr>
            <p:ph sz="quarter" idx="80" hasCustomPrompt="1"/>
          </p:nvPr>
        </p:nvSpPr>
        <p:spPr>
          <a:xfrm>
            <a:off x="6106411" y="1945345"/>
            <a:ext cx="2325757" cy="1348163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1" name="Text Placeholder 14"/>
          <p:cNvSpPr>
            <a:spLocks noGrp="1"/>
          </p:cNvSpPr>
          <p:nvPr>
            <p:ph type="body" sz="quarter" idx="89"/>
          </p:nvPr>
        </p:nvSpPr>
        <p:spPr>
          <a:xfrm>
            <a:off x="3006073" y="1514476"/>
            <a:ext cx="2670429" cy="207526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2" name="Picture Placeholder 11"/>
          <p:cNvSpPr>
            <a:spLocks noGrp="1"/>
          </p:cNvSpPr>
          <p:nvPr>
            <p:ph type="pic" sz="quarter" idx="90"/>
          </p:nvPr>
        </p:nvSpPr>
        <p:spPr>
          <a:xfrm>
            <a:off x="3177910" y="1886462"/>
            <a:ext cx="2326754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3" name="Text Placeholder 10"/>
          <p:cNvSpPr>
            <a:spLocks noGrp="1"/>
          </p:cNvSpPr>
          <p:nvPr>
            <p:ph type="body" sz="quarter" idx="91"/>
          </p:nvPr>
        </p:nvSpPr>
        <p:spPr>
          <a:xfrm>
            <a:off x="3178260" y="1643209"/>
            <a:ext cx="2326055" cy="193514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4" name="Picture Placeholder 11"/>
          <p:cNvSpPr>
            <a:spLocks noGrp="1"/>
          </p:cNvSpPr>
          <p:nvPr>
            <p:ph type="pic" sz="quarter" idx="92"/>
          </p:nvPr>
        </p:nvSpPr>
        <p:spPr>
          <a:xfrm>
            <a:off x="3177910" y="3343247"/>
            <a:ext cx="232675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5" name="Text Placeholder 6"/>
          <p:cNvSpPr>
            <a:spLocks noGrp="1"/>
          </p:cNvSpPr>
          <p:nvPr>
            <p:ph type="body" sz="quarter" idx="93" hasCustomPrompt="1"/>
          </p:nvPr>
        </p:nvSpPr>
        <p:spPr>
          <a:xfrm>
            <a:off x="3178409" y="3402130"/>
            <a:ext cx="1619525" cy="13163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98" name="Text Placeholder 6"/>
          <p:cNvSpPr>
            <a:spLocks noGrp="1"/>
          </p:cNvSpPr>
          <p:nvPr>
            <p:ph type="body" sz="quarter" idx="94" hasCustomPrompt="1"/>
          </p:nvPr>
        </p:nvSpPr>
        <p:spPr>
          <a:xfrm>
            <a:off x="4797934" y="3403548"/>
            <a:ext cx="706232" cy="130216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9" name="Content Placeholder 4"/>
          <p:cNvSpPr>
            <a:spLocks noGrp="1"/>
          </p:cNvSpPr>
          <p:nvPr>
            <p:ph sz="quarter" idx="95" hasCustomPrompt="1"/>
          </p:nvPr>
        </p:nvSpPr>
        <p:spPr>
          <a:xfrm>
            <a:off x="3178409" y="1945345"/>
            <a:ext cx="2325757" cy="1348163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89976" y="5379242"/>
            <a:ext cx="220663" cy="8255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65648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7126939" y="507397"/>
            <a:ext cx="1477565" cy="2047210"/>
          </a:xfrm>
        </p:spPr>
        <p:txBody>
          <a:bodyPr/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26936" y="1943101"/>
            <a:ext cx="1477565" cy="61150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39" y="3055471"/>
            <a:ext cx="1477562" cy="2149845"/>
          </a:xfrm>
        </p:spPr>
        <p:txBody>
          <a:bodyPr/>
          <a:lstStyle>
            <a:lvl1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0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711820" y="3055471"/>
            <a:ext cx="2779776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1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4005539" y="3055471"/>
            <a:ext cx="2779776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45"/>
          </p:nvPr>
        </p:nvSpPr>
        <p:spPr>
          <a:xfrm>
            <a:off x="539496" y="507397"/>
            <a:ext cx="3124424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46"/>
          </p:nvPr>
        </p:nvSpPr>
        <p:spPr>
          <a:xfrm>
            <a:off x="711820" y="887762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ntent Placeholder 4"/>
          <p:cNvSpPr>
            <a:spLocks noGrp="1"/>
          </p:cNvSpPr>
          <p:nvPr>
            <p:ph sz="quarter" idx="47" hasCustomPrompt="1"/>
          </p:nvPr>
        </p:nvSpPr>
        <p:spPr>
          <a:xfrm>
            <a:off x="711820" y="952556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48"/>
          </p:nvPr>
        </p:nvSpPr>
        <p:spPr>
          <a:xfrm>
            <a:off x="711820" y="638598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1" name="Picture Placeholder 11"/>
          <p:cNvSpPr>
            <a:spLocks noGrp="1"/>
          </p:cNvSpPr>
          <p:nvPr>
            <p:ph type="pic" sz="quarter" idx="51"/>
          </p:nvPr>
        </p:nvSpPr>
        <p:spPr>
          <a:xfrm>
            <a:off x="711820" y="2478334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711820" y="2543129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2785364" y="2543129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3833215" y="507397"/>
            <a:ext cx="3124424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1"/>
          <p:cNvSpPr>
            <a:spLocks noGrp="1"/>
          </p:cNvSpPr>
          <p:nvPr>
            <p:ph type="pic" sz="quarter" idx="75"/>
          </p:nvPr>
        </p:nvSpPr>
        <p:spPr>
          <a:xfrm>
            <a:off x="4005539" y="887762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Content Placeholder 4"/>
          <p:cNvSpPr>
            <a:spLocks noGrp="1"/>
          </p:cNvSpPr>
          <p:nvPr>
            <p:ph sz="quarter" idx="76" hasCustomPrompt="1"/>
          </p:nvPr>
        </p:nvSpPr>
        <p:spPr>
          <a:xfrm>
            <a:off x="4005539" y="952556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7" name="Text Placeholder 10"/>
          <p:cNvSpPr>
            <a:spLocks noGrp="1"/>
          </p:cNvSpPr>
          <p:nvPr>
            <p:ph type="body" sz="quarter" idx="77"/>
          </p:nvPr>
        </p:nvSpPr>
        <p:spPr>
          <a:xfrm>
            <a:off x="4005539" y="638598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4005539" y="2478334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005539" y="2543129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6079083" y="2544747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8689313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7126939" y="507397"/>
            <a:ext cx="1477565" cy="2047210"/>
          </a:xfrm>
        </p:spPr>
        <p:txBody>
          <a:bodyPr/>
          <a:lstStyle>
            <a:lvl1pPr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126936" y="1943101"/>
            <a:ext cx="1477565" cy="61150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39" y="3055471"/>
            <a:ext cx="1477562" cy="2149845"/>
          </a:xfrm>
        </p:spPr>
        <p:txBody>
          <a:bodyPr/>
          <a:lstStyle>
            <a:lvl1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0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711820" y="507397"/>
            <a:ext cx="2779777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1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4005539" y="507397"/>
            <a:ext cx="2779777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4" name="Text Placeholder 14"/>
          <p:cNvSpPr>
            <a:spLocks noGrp="1"/>
          </p:cNvSpPr>
          <p:nvPr>
            <p:ph type="body" sz="quarter" idx="52"/>
          </p:nvPr>
        </p:nvSpPr>
        <p:spPr>
          <a:xfrm>
            <a:off x="539497" y="2924270"/>
            <a:ext cx="3124424" cy="2281046"/>
          </a:xfrm>
          <a:solidFill>
            <a:srgbClr val="F1F1F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5" name="Picture Placeholder 11"/>
          <p:cNvSpPr>
            <a:spLocks noGrp="1"/>
          </p:cNvSpPr>
          <p:nvPr>
            <p:ph type="pic" sz="quarter" idx="89"/>
          </p:nvPr>
        </p:nvSpPr>
        <p:spPr>
          <a:xfrm>
            <a:off x="711821" y="3304798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90"/>
          </p:nvPr>
        </p:nvSpPr>
        <p:spPr>
          <a:xfrm>
            <a:off x="711821" y="3055471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7" name="Picture Placeholder 11"/>
          <p:cNvSpPr>
            <a:spLocks noGrp="1"/>
          </p:cNvSpPr>
          <p:nvPr>
            <p:ph type="pic" sz="quarter" idx="91"/>
          </p:nvPr>
        </p:nvSpPr>
        <p:spPr>
          <a:xfrm>
            <a:off x="711821" y="4895696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92" hasCustomPrompt="1"/>
          </p:nvPr>
        </p:nvSpPr>
        <p:spPr>
          <a:xfrm>
            <a:off x="711821" y="4960652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93" hasCustomPrompt="1"/>
          </p:nvPr>
        </p:nvSpPr>
        <p:spPr>
          <a:xfrm>
            <a:off x="2785365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0" name="Content Placeholder 4"/>
          <p:cNvSpPr>
            <a:spLocks noGrp="1"/>
          </p:cNvSpPr>
          <p:nvPr>
            <p:ph sz="quarter" idx="94" hasCustomPrompt="1"/>
          </p:nvPr>
        </p:nvSpPr>
        <p:spPr>
          <a:xfrm>
            <a:off x="711821" y="3369755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4"/>
          <p:cNvSpPr>
            <a:spLocks noGrp="1"/>
          </p:cNvSpPr>
          <p:nvPr>
            <p:ph type="body" sz="quarter" idx="97"/>
          </p:nvPr>
        </p:nvSpPr>
        <p:spPr>
          <a:xfrm>
            <a:off x="3833216" y="2924270"/>
            <a:ext cx="3124424" cy="2281046"/>
          </a:xfrm>
          <a:solidFill>
            <a:srgbClr val="F1F1F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2" name="Picture Placeholder 11"/>
          <p:cNvSpPr>
            <a:spLocks noGrp="1"/>
          </p:cNvSpPr>
          <p:nvPr>
            <p:ph type="pic" sz="quarter" idx="98"/>
          </p:nvPr>
        </p:nvSpPr>
        <p:spPr>
          <a:xfrm>
            <a:off x="4005540" y="3304798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3" name="Text Placeholder 10"/>
          <p:cNvSpPr>
            <a:spLocks noGrp="1"/>
          </p:cNvSpPr>
          <p:nvPr>
            <p:ph type="body" sz="quarter" idx="99"/>
          </p:nvPr>
        </p:nvSpPr>
        <p:spPr>
          <a:xfrm>
            <a:off x="4005540" y="3055471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4" name="Picture Placeholder 11"/>
          <p:cNvSpPr>
            <a:spLocks noGrp="1"/>
          </p:cNvSpPr>
          <p:nvPr>
            <p:ph type="pic" sz="quarter" idx="100"/>
          </p:nvPr>
        </p:nvSpPr>
        <p:spPr>
          <a:xfrm>
            <a:off x="4005540" y="4895696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101" hasCustomPrompt="1"/>
          </p:nvPr>
        </p:nvSpPr>
        <p:spPr>
          <a:xfrm>
            <a:off x="4005540" y="4960652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102" hasCustomPrompt="1"/>
          </p:nvPr>
        </p:nvSpPr>
        <p:spPr>
          <a:xfrm>
            <a:off x="6079084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7" name="Content Placeholder 4"/>
          <p:cNvSpPr>
            <a:spLocks noGrp="1"/>
          </p:cNvSpPr>
          <p:nvPr>
            <p:ph sz="quarter" idx="103" hasCustomPrompt="1"/>
          </p:nvPr>
        </p:nvSpPr>
        <p:spPr>
          <a:xfrm>
            <a:off x="4005540" y="3369755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</p:spTree>
    <p:extLst>
      <p:ext uri="{BB962C8B-B14F-4D97-AF65-F5344CB8AC3E}">
        <p14:creationId xmlns:p14="http://schemas.microsoft.com/office/powerpoint/2010/main" val="3164919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097530" cy="5715000"/>
          </a:xfrm>
          <a:solidFill>
            <a:srgbClr val="58595B"/>
          </a:solidFill>
        </p:spPr>
        <p:txBody>
          <a:bodyPr anchor="ctr"/>
          <a:lstStyle>
            <a:lvl1pPr marL="0" indent="0" algn="ctr">
              <a:buNone/>
              <a:defRPr baseline="0"/>
            </a:lvl1pPr>
            <a:lvl5pPr algn="ctr">
              <a:defRPr/>
            </a:lvl5pPr>
          </a:lstStyle>
          <a:p>
            <a:pPr lvl="4"/>
            <a:r>
              <a:rPr lang="en-US" dirty="0"/>
              <a:t>Client Picture – Be creative!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810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700" cap="all" spc="2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ET IN TOUCH WITH OUR FMCG EXPERTS</a:t>
            </a:r>
            <a:endParaRPr kumimoji="0" lang="en-US" sz="700" b="0" i="0" u="none" strike="noStrike" kern="700" cap="all" spc="20" normalizeH="0" baseline="0" noProof="0" dirty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89976" y="5379242"/>
            <a:ext cx="220663" cy="825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810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700" cap="all" spc="2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fld id="{DE0CD65C-5600-3243-B8FF-DA4DAD8CA31A}" type="slidenum">
              <a:rPr kumimoji="0" lang="en-US" sz="700" b="0" i="0" u="none" strike="noStrike" kern="700" cap="all" spc="2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810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00" b="0" i="0" u="none" strike="noStrike" kern="700" cap="all" spc="2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417570" y="576072"/>
            <a:ext cx="5186934" cy="389364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kumimoji="0" lang="en-US" sz="2000" b="1" i="0" u="none" strike="noStrike" kern="1200" cap="all" spc="0" normalizeH="0" baseline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Purista" pitchFamily="2" charset="0"/>
                <a:ea typeface="ＭＳ Ｐゴシック" charset="0"/>
                <a:cs typeface="Myriad Pro"/>
              </a:defRPr>
            </a:lvl1pPr>
            <a:lvl2pPr marL="233362" indent="0">
              <a:buFontTx/>
              <a:buNone/>
              <a:defRPr/>
            </a:lvl2pPr>
            <a:lvl3pPr marL="457200" indent="0">
              <a:buFontTx/>
              <a:buNone/>
              <a:defRPr/>
            </a:lvl3pPr>
            <a:lvl4pPr marL="690562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Case heading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417570" y="1348740"/>
            <a:ext cx="5186934" cy="3589020"/>
          </a:xfrm>
        </p:spPr>
        <p:txBody>
          <a:bodyPr numCol="2" spcCol="144000"/>
          <a:lstStyle>
            <a:lvl1pPr>
              <a:spcAft>
                <a:spcPts val="0"/>
              </a:spcAft>
              <a:defRPr baseline="0"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sz="900"/>
            </a:lvl5pPr>
          </a:lstStyle>
          <a:p>
            <a:pPr lvl="0"/>
            <a:r>
              <a:rPr lang="en-US" dirty="0"/>
              <a:t>Heading (issue, approach, result)</a:t>
            </a:r>
          </a:p>
          <a:p>
            <a:pPr lvl="1"/>
            <a:r>
              <a:rPr lang="en-US" dirty="0"/>
              <a:t>Paragraph</a:t>
            </a:r>
          </a:p>
          <a:p>
            <a:pPr lvl="2"/>
            <a:r>
              <a:rPr lang="en-US" dirty="0"/>
              <a:t>First level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Annotation</a:t>
            </a:r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263724" y="4356189"/>
            <a:ext cx="714259" cy="73418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200" baseline="0"/>
            </a:lvl1pPr>
            <a:lvl5pPr algn="ctr">
              <a:defRPr/>
            </a:lvl5pPr>
          </a:lstStyle>
          <a:p>
            <a:pPr lvl="4"/>
            <a:r>
              <a:rPr lang="en-US" dirty="0"/>
              <a:t>Client logo – You can flexibly resiz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263724" y="1076016"/>
            <a:ext cx="2536626" cy="2938338"/>
          </a:xfrm>
        </p:spPr>
        <p:txBody>
          <a:bodyPr numCol="1" spcCol="144000"/>
          <a:lstStyle>
            <a:lvl1pPr>
              <a:spcAft>
                <a:spcPts val="0"/>
              </a:spcAft>
              <a:defRPr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ing (issue, approach, result)</a:t>
            </a:r>
          </a:p>
          <a:p>
            <a:pPr lvl="1"/>
            <a:r>
              <a:rPr lang="en-US" dirty="0"/>
              <a:t>Paragraph</a:t>
            </a:r>
          </a:p>
          <a:p>
            <a:pPr lvl="2"/>
            <a:r>
              <a:rPr lang="en-US" dirty="0"/>
              <a:t>First level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Annotation</a:t>
            </a:r>
          </a:p>
        </p:txBody>
      </p:sp>
    </p:spTree>
    <p:extLst>
      <p:ext uri="{BB962C8B-B14F-4D97-AF65-F5344CB8AC3E}">
        <p14:creationId xmlns:p14="http://schemas.microsoft.com/office/powerpoint/2010/main" val="59180462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1435704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2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2358680" y="3055471"/>
            <a:ext cx="2779777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5652400" y="3055471"/>
            <a:ext cx="2779776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45"/>
          </p:nvPr>
        </p:nvSpPr>
        <p:spPr>
          <a:xfrm>
            <a:off x="2186357" y="507399"/>
            <a:ext cx="3124424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46"/>
          </p:nvPr>
        </p:nvSpPr>
        <p:spPr>
          <a:xfrm>
            <a:off x="2358681" y="887764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ntent Placeholder 4"/>
          <p:cNvSpPr>
            <a:spLocks noGrp="1"/>
          </p:cNvSpPr>
          <p:nvPr>
            <p:ph sz="quarter" idx="47" hasCustomPrompt="1"/>
          </p:nvPr>
        </p:nvSpPr>
        <p:spPr>
          <a:xfrm>
            <a:off x="2358681" y="952558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48"/>
          </p:nvPr>
        </p:nvSpPr>
        <p:spPr>
          <a:xfrm>
            <a:off x="2358681" y="638600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1" name="Picture Placeholder 11"/>
          <p:cNvSpPr>
            <a:spLocks noGrp="1"/>
          </p:cNvSpPr>
          <p:nvPr>
            <p:ph type="pic" sz="quarter" idx="51"/>
          </p:nvPr>
        </p:nvSpPr>
        <p:spPr>
          <a:xfrm>
            <a:off x="2358681" y="2478336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2358681" y="2543131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432225" y="2543131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5480076" y="507399"/>
            <a:ext cx="3124424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1"/>
          <p:cNvSpPr>
            <a:spLocks noGrp="1"/>
          </p:cNvSpPr>
          <p:nvPr>
            <p:ph type="pic" sz="quarter" idx="75"/>
          </p:nvPr>
        </p:nvSpPr>
        <p:spPr>
          <a:xfrm>
            <a:off x="5652400" y="887764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Content Placeholder 4"/>
          <p:cNvSpPr>
            <a:spLocks noGrp="1"/>
          </p:cNvSpPr>
          <p:nvPr>
            <p:ph sz="quarter" idx="76" hasCustomPrompt="1"/>
          </p:nvPr>
        </p:nvSpPr>
        <p:spPr>
          <a:xfrm>
            <a:off x="5652400" y="952558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7" name="Text Placeholder 10"/>
          <p:cNvSpPr>
            <a:spLocks noGrp="1"/>
          </p:cNvSpPr>
          <p:nvPr>
            <p:ph type="body" sz="quarter" idx="77"/>
          </p:nvPr>
        </p:nvSpPr>
        <p:spPr>
          <a:xfrm>
            <a:off x="5652400" y="638600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5652400" y="2478336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5652400" y="2543131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7725944" y="2544749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95214840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2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2358681" y="507397"/>
            <a:ext cx="2779776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5652400" y="507397"/>
            <a:ext cx="2779777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2186357" y="2924270"/>
            <a:ext cx="3124424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52"/>
          </p:nvPr>
        </p:nvSpPr>
        <p:spPr>
          <a:xfrm>
            <a:off x="5480077" y="2924270"/>
            <a:ext cx="3124424" cy="2281046"/>
          </a:xfrm>
          <a:solidFill>
            <a:srgbClr val="F1F1F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1"/>
          <p:cNvSpPr>
            <a:spLocks noGrp="1"/>
          </p:cNvSpPr>
          <p:nvPr>
            <p:ph type="pic" sz="quarter" idx="81"/>
          </p:nvPr>
        </p:nvSpPr>
        <p:spPr>
          <a:xfrm>
            <a:off x="2358681" y="3304798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82"/>
          </p:nvPr>
        </p:nvSpPr>
        <p:spPr>
          <a:xfrm>
            <a:off x="2358681" y="3055471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1" name="Picture Placeholder 11"/>
          <p:cNvSpPr>
            <a:spLocks noGrp="1"/>
          </p:cNvSpPr>
          <p:nvPr>
            <p:ph type="pic" sz="quarter" idx="83"/>
          </p:nvPr>
        </p:nvSpPr>
        <p:spPr>
          <a:xfrm>
            <a:off x="2358681" y="4895696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2358681" y="4960652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4432225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Content Placeholder 4"/>
          <p:cNvSpPr>
            <a:spLocks noGrp="1"/>
          </p:cNvSpPr>
          <p:nvPr>
            <p:ph sz="quarter" idx="86" hasCustomPrompt="1"/>
          </p:nvPr>
        </p:nvSpPr>
        <p:spPr>
          <a:xfrm>
            <a:off x="2358681" y="3369755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5" name="Picture Placeholder 11"/>
          <p:cNvSpPr>
            <a:spLocks noGrp="1"/>
          </p:cNvSpPr>
          <p:nvPr>
            <p:ph type="pic" sz="quarter" idx="89"/>
          </p:nvPr>
        </p:nvSpPr>
        <p:spPr>
          <a:xfrm>
            <a:off x="5652401" y="3304798"/>
            <a:ext cx="277977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90"/>
          </p:nvPr>
        </p:nvSpPr>
        <p:spPr>
          <a:xfrm>
            <a:off x="5652401" y="3055471"/>
            <a:ext cx="2779776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7" name="Picture Placeholder 11"/>
          <p:cNvSpPr>
            <a:spLocks noGrp="1"/>
          </p:cNvSpPr>
          <p:nvPr>
            <p:ph type="pic" sz="quarter" idx="91"/>
          </p:nvPr>
        </p:nvSpPr>
        <p:spPr>
          <a:xfrm>
            <a:off x="5652401" y="4895696"/>
            <a:ext cx="277977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92" hasCustomPrompt="1"/>
          </p:nvPr>
        </p:nvSpPr>
        <p:spPr>
          <a:xfrm>
            <a:off x="5652401" y="4960652"/>
            <a:ext cx="20735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93" hasCustomPrompt="1"/>
          </p:nvPr>
        </p:nvSpPr>
        <p:spPr>
          <a:xfrm>
            <a:off x="7725945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1" name="Content Placeholder 4"/>
          <p:cNvSpPr>
            <a:spLocks noGrp="1"/>
          </p:cNvSpPr>
          <p:nvPr>
            <p:ph sz="quarter" idx="94" hasCustomPrompt="1"/>
          </p:nvPr>
        </p:nvSpPr>
        <p:spPr>
          <a:xfrm>
            <a:off x="5652401" y="3369755"/>
            <a:ext cx="2779776" cy="14701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</p:spTree>
    <p:extLst>
      <p:ext uri="{BB962C8B-B14F-4D97-AF65-F5344CB8AC3E}">
        <p14:creationId xmlns:p14="http://schemas.microsoft.com/office/powerpoint/2010/main" val="365823968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2047210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3"/>
          </p:nvPr>
        </p:nvSpPr>
        <p:spPr bwMode="auto">
          <a:xfrm>
            <a:off x="2186357" y="2924270"/>
            <a:ext cx="6418144" cy="2281046"/>
          </a:xfrm>
          <a:custGeom>
            <a:avLst/>
            <a:gdLst>
              <a:gd name="connsiteX0" fmla="*/ 0 w 6418144"/>
              <a:gd name="connsiteY0" fmla="*/ 0 h 2281046"/>
              <a:gd name="connsiteX1" fmla="*/ 3293720 w 6418144"/>
              <a:gd name="connsiteY1" fmla="*/ 0 h 2281046"/>
              <a:gd name="connsiteX2" fmla="*/ 3466044 w 6418144"/>
              <a:gd name="connsiteY2" fmla="*/ 0 h 2281046"/>
              <a:gd name="connsiteX3" fmla="*/ 6418144 w 6418144"/>
              <a:gd name="connsiteY3" fmla="*/ 0 h 2281046"/>
              <a:gd name="connsiteX4" fmla="*/ 6418144 w 6418144"/>
              <a:gd name="connsiteY4" fmla="*/ 2281046 h 2281046"/>
              <a:gd name="connsiteX5" fmla="*/ 3466044 w 6418144"/>
              <a:gd name="connsiteY5" fmla="*/ 2281046 h 2281046"/>
              <a:gd name="connsiteX6" fmla="*/ 3293720 w 6418144"/>
              <a:gd name="connsiteY6" fmla="*/ 2281046 h 2281046"/>
              <a:gd name="connsiteX7" fmla="*/ 0 w 6418144"/>
              <a:gd name="connsiteY7" fmla="*/ 2281046 h 2281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18144" h="2281046">
                <a:moveTo>
                  <a:pt x="0" y="0"/>
                </a:moveTo>
                <a:lnTo>
                  <a:pt x="3293720" y="0"/>
                </a:lnTo>
                <a:lnTo>
                  <a:pt x="3466044" y="0"/>
                </a:lnTo>
                <a:lnTo>
                  <a:pt x="6418144" y="0"/>
                </a:lnTo>
                <a:lnTo>
                  <a:pt x="6418144" y="2281046"/>
                </a:lnTo>
                <a:lnTo>
                  <a:pt x="3466044" y="2281046"/>
                </a:lnTo>
                <a:lnTo>
                  <a:pt x="3293720" y="2281046"/>
                </a:lnTo>
                <a:lnTo>
                  <a:pt x="0" y="2281046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1"/>
          <p:cNvSpPr>
            <a:spLocks noGrp="1"/>
          </p:cNvSpPr>
          <p:nvPr>
            <p:ph type="pic" sz="quarter" idx="81"/>
          </p:nvPr>
        </p:nvSpPr>
        <p:spPr>
          <a:xfrm>
            <a:off x="2358681" y="3304798"/>
            <a:ext cx="607161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82"/>
          </p:nvPr>
        </p:nvSpPr>
        <p:spPr bwMode="auto">
          <a:xfrm>
            <a:off x="2358680" y="3055471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83"/>
          </p:nvPr>
        </p:nvSpPr>
        <p:spPr>
          <a:xfrm>
            <a:off x="2358681" y="489569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2358680" y="4960652"/>
            <a:ext cx="536726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85" hasCustomPrompt="1"/>
          </p:nvPr>
        </p:nvSpPr>
        <p:spPr>
          <a:xfrm>
            <a:off x="7725944" y="4960652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8" name="Content Placeholder 27"/>
          <p:cNvSpPr>
            <a:spLocks noGrp="1"/>
          </p:cNvSpPr>
          <p:nvPr>
            <p:ph sz="quarter" idx="86" hasCustomPrompt="1"/>
          </p:nvPr>
        </p:nvSpPr>
        <p:spPr bwMode="auto">
          <a:xfrm>
            <a:off x="2358680" y="3369755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1" name="Content Placeholder 7"/>
          <p:cNvSpPr>
            <a:spLocks noGrp="1"/>
          </p:cNvSpPr>
          <p:nvPr>
            <p:ph sz="quarter" idx="87" hasCustomPrompt="1"/>
          </p:nvPr>
        </p:nvSpPr>
        <p:spPr>
          <a:xfrm>
            <a:off x="2358681" y="507397"/>
            <a:ext cx="2779776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3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5652400" y="507397"/>
            <a:ext cx="2779777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37373977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2" name="Title 10"/>
          <p:cNvSpPr>
            <a:spLocks noGrp="1"/>
          </p:cNvSpPr>
          <p:nvPr>
            <p:ph type="title"/>
          </p:nvPr>
        </p:nvSpPr>
        <p:spPr>
          <a:xfrm>
            <a:off x="539497" y="507397"/>
            <a:ext cx="1477565" cy="1435704"/>
          </a:xfrm>
        </p:spPr>
        <p:txBody>
          <a:bodyPr/>
          <a:lstStyle>
            <a:lvl1pPr algn="l">
              <a:defRPr sz="18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7" y="1943101"/>
            <a:ext cx="1477565" cy="611506"/>
          </a:xfr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7" y="3055471"/>
            <a:ext cx="1477562" cy="2149845"/>
          </a:xfrm>
        </p:spPr>
        <p:txBody>
          <a:bodyPr/>
          <a:lstStyle>
            <a:lvl1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1pPr>
            <a:lvl2pPr algn="l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2pPr>
            <a:lvl3pPr algn="l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3pPr>
            <a:lvl4pPr algn="l">
              <a:spcAft>
                <a:spcPts val="400"/>
              </a:spcAft>
              <a:defRPr sz="600" kern="0" spc="0">
                <a:latin typeface="Calibri" panose="020F0502020204030204" pitchFamily="34" charset="0"/>
              </a:defRPr>
            </a:lvl4pPr>
            <a:lvl5pPr algn="l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2186357" y="507399"/>
            <a:ext cx="6418143" cy="2281046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1"/>
          <p:cNvSpPr>
            <a:spLocks noGrp="1"/>
          </p:cNvSpPr>
          <p:nvPr>
            <p:ph type="pic" sz="quarter" idx="78"/>
          </p:nvPr>
        </p:nvSpPr>
        <p:spPr>
          <a:xfrm>
            <a:off x="2358680" y="2478336"/>
            <a:ext cx="6071616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2358680" y="2543131"/>
            <a:ext cx="607161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7725944" y="2544749"/>
            <a:ext cx="70623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93"/>
          </p:nvPr>
        </p:nvSpPr>
        <p:spPr>
          <a:xfrm>
            <a:off x="2358681" y="887764"/>
            <a:ext cx="6071616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94"/>
          </p:nvPr>
        </p:nvSpPr>
        <p:spPr bwMode="auto">
          <a:xfrm>
            <a:off x="2358680" y="638600"/>
            <a:ext cx="6073497" cy="193514"/>
          </a:xfrm>
          <a:custGeom>
            <a:avLst/>
            <a:gdLst>
              <a:gd name="connsiteX0" fmla="*/ 0 w 6073497"/>
              <a:gd name="connsiteY0" fmla="*/ 0 h 193514"/>
              <a:gd name="connsiteX1" fmla="*/ 3293721 w 6073497"/>
              <a:gd name="connsiteY1" fmla="*/ 0 h 193514"/>
              <a:gd name="connsiteX2" fmla="*/ 3696045 w 6073497"/>
              <a:gd name="connsiteY2" fmla="*/ 0 h 193514"/>
              <a:gd name="connsiteX3" fmla="*/ 6073497 w 6073497"/>
              <a:gd name="connsiteY3" fmla="*/ 0 h 193514"/>
              <a:gd name="connsiteX4" fmla="*/ 6073497 w 6073497"/>
              <a:gd name="connsiteY4" fmla="*/ 193514 h 193514"/>
              <a:gd name="connsiteX5" fmla="*/ 3696045 w 6073497"/>
              <a:gd name="connsiteY5" fmla="*/ 193514 h 193514"/>
              <a:gd name="connsiteX6" fmla="*/ 3293721 w 6073497"/>
              <a:gd name="connsiteY6" fmla="*/ 193514 h 193514"/>
              <a:gd name="connsiteX7" fmla="*/ 0 w 6073497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93514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93514"/>
                </a:lnTo>
                <a:lnTo>
                  <a:pt x="3696045" y="193514"/>
                </a:lnTo>
                <a:lnTo>
                  <a:pt x="3293721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96" hasCustomPrompt="1"/>
          </p:nvPr>
        </p:nvSpPr>
        <p:spPr bwMode="auto">
          <a:xfrm>
            <a:off x="2358680" y="952558"/>
            <a:ext cx="6073497" cy="1470128"/>
          </a:xfrm>
          <a:custGeom>
            <a:avLst/>
            <a:gdLst>
              <a:gd name="connsiteX0" fmla="*/ 0 w 6073497"/>
              <a:gd name="connsiteY0" fmla="*/ 0 h 1470128"/>
              <a:gd name="connsiteX1" fmla="*/ 3293721 w 6073497"/>
              <a:gd name="connsiteY1" fmla="*/ 0 h 1470128"/>
              <a:gd name="connsiteX2" fmla="*/ 3696045 w 6073497"/>
              <a:gd name="connsiteY2" fmla="*/ 0 h 1470128"/>
              <a:gd name="connsiteX3" fmla="*/ 6073497 w 6073497"/>
              <a:gd name="connsiteY3" fmla="*/ 0 h 1470128"/>
              <a:gd name="connsiteX4" fmla="*/ 6073497 w 6073497"/>
              <a:gd name="connsiteY4" fmla="*/ 1470128 h 1470128"/>
              <a:gd name="connsiteX5" fmla="*/ 3696045 w 6073497"/>
              <a:gd name="connsiteY5" fmla="*/ 1470128 h 1470128"/>
              <a:gd name="connsiteX6" fmla="*/ 3293721 w 6073497"/>
              <a:gd name="connsiteY6" fmla="*/ 1470128 h 1470128"/>
              <a:gd name="connsiteX7" fmla="*/ 0 w 6073497"/>
              <a:gd name="connsiteY7" fmla="*/ 1470128 h 147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73497" h="1470128">
                <a:moveTo>
                  <a:pt x="0" y="0"/>
                </a:moveTo>
                <a:lnTo>
                  <a:pt x="3293721" y="0"/>
                </a:lnTo>
                <a:lnTo>
                  <a:pt x="3696045" y="0"/>
                </a:lnTo>
                <a:lnTo>
                  <a:pt x="6073497" y="0"/>
                </a:lnTo>
                <a:lnTo>
                  <a:pt x="6073497" y="1470128"/>
                </a:lnTo>
                <a:lnTo>
                  <a:pt x="3696045" y="1470128"/>
                </a:lnTo>
                <a:lnTo>
                  <a:pt x="3293721" y="1470128"/>
                </a:lnTo>
                <a:lnTo>
                  <a:pt x="0" y="1470128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97" hasCustomPrompt="1"/>
          </p:nvPr>
        </p:nvSpPr>
        <p:spPr>
          <a:xfrm>
            <a:off x="2358681" y="3052152"/>
            <a:ext cx="2779776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0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5652400" y="3052152"/>
            <a:ext cx="2779777" cy="215316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46931831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33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4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35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43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7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8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9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6" name="Content Placeholder 7"/>
          <p:cNvSpPr>
            <a:spLocks noGrp="1"/>
          </p:cNvSpPr>
          <p:nvPr>
            <p:ph sz="quarter" idx="88" hasCustomPrompt="1"/>
          </p:nvPr>
        </p:nvSpPr>
        <p:spPr>
          <a:xfrm>
            <a:off x="6171667" y="3451981"/>
            <a:ext cx="2286000" cy="163853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7" name="Content Placeholder 7"/>
          <p:cNvSpPr>
            <a:spLocks noGrp="1"/>
          </p:cNvSpPr>
          <p:nvPr>
            <p:ph sz="quarter" idx="109" hasCustomPrompt="1"/>
          </p:nvPr>
        </p:nvSpPr>
        <p:spPr>
          <a:xfrm>
            <a:off x="3429001" y="3451981"/>
            <a:ext cx="2286000" cy="163853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8" name="Content Placeholder 7"/>
          <p:cNvSpPr>
            <a:spLocks noGrp="1"/>
          </p:cNvSpPr>
          <p:nvPr>
            <p:ph sz="quarter" idx="110" hasCustomPrompt="1"/>
          </p:nvPr>
        </p:nvSpPr>
        <p:spPr>
          <a:xfrm>
            <a:off x="686334" y="3451981"/>
            <a:ext cx="2286000" cy="163853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93166131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299045" y="1501563"/>
            <a:ext cx="2305459" cy="363467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3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1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0" name="Content Placeholder 4"/>
          <p:cNvSpPr>
            <a:spLocks noGrp="1"/>
          </p:cNvSpPr>
          <p:nvPr>
            <p:ph sz="quarter" idx="111" hasCustomPrompt="1"/>
          </p:nvPr>
        </p:nvSpPr>
        <p:spPr>
          <a:xfrm>
            <a:off x="686333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1" name="Picture Placeholder 11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7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8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1" name="Text Placeholder 14"/>
          <p:cNvSpPr>
            <a:spLocks noGrp="1"/>
          </p:cNvSpPr>
          <p:nvPr>
            <p:ph type="body" sz="quarter" idx="122"/>
          </p:nvPr>
        </p:nvSpPr>
        <p:spPr>
          <a:xfrm>
            <a:off x="3282163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Picture Placeholder 11"/>
          <p:cNvSpPr>
            <a:spLocks noGrp="1"/>
          </p:cNvSpPr>
          <p:nvPr>
            <p:ph type="pic" sz="quarter" idx="123"/>
          </p:nvPr>
        </p:nvSpPr>
        <p:spPr>
          <a:xfrm>
            <a:off x="3429000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Text Placeholder 10"/>
          <p:cNvSpPr>
            <a:spLocks noGrp="1"/>
          </p:cNvSpPr>
          <p:nvPr>
            <p:ph type="body" sz="quarter" idx="124"/>
          </p:nvPr>
        </p:nvSpPr>
        <p:spPr>
          <a:xfrm>
            <a:off x="3429000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4" name="Content Placeholder 4"/>
          <p:cNvSpPr>
            <a:spLocks noGrp="1"/>
          </p:cNvSpPr>
          <p:nvPr>
            <p:ph sz="quarter" idx="125" hasCustomPrompt="1"/>
          </p:nvPr>
        </p:nvSpPr>
        <p:spPr>
          <a:xfrm>
            <a:off x="3429000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5" name="Picture Placeholder 11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30638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6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7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9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2" name="Text Placeholder 14"/>
          <p:cNvSpPr>
            <a:spLocks noGrp="1"/>
          </p:cNvSpPr>
          <p:nvPr>
            <p:ph type="body" sz="quarter" idx="122"/>
          </p:nvPr>
        </p:nvSpPr>
        <p:spPr>
          <a:xfrm>
            <a:off x="3282163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1"/>
          <p:cNvSpPr>
            <a:spLocks noGrp="1"/>
          </p:cNvSpPr>
          <p:nvPr>
            <p:ph type="pic" sz="quarter" idx="123"/>
          </p:nvPr>
        </p:nvSpPr>
        <p:spPr>
          <a:xfrm>
            <a:off x="3429000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 Placeholder 10"/>
          <p:cNvSpPr>
            <a:spLocks noGrp="1"/>
          </p:cNvSpPr>
          <p:nvPr>
            <p:ph type="body" sz="quarter" idx="124"/>
          </p:nvPr>
        </p:nvSpPr>
        <p:spPr>
          <a:xfrm>
            <a:off x="3429000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Content Placeholder 4"/>
          <p:cNvSpPr>
            <a:spLocks noGrp="1"/>
          </p:cNvSpPr>
          <p:nvPr>
            <p:ph sz="quarter" idx="125" hasCustomPrompt="1"/>
          </p:nvPr>
        </p:nvSpPr>
        <p:spPr>
          <a:xfrm>
            <a:off x="3429000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6" name="Picture Placeholder 11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9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2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3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6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7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9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60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610283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7" name="Chart Background"/>
          <p:cNvSpPr>
            <a:spLocks noGrp="1"/>
          </p:cNvSpPr>
          <p:nvPr>
            <p:ph type="body" sz="quarter" idx="108"/>
          </p:nvPr>
        </p:nvSpPr>
        <p:spPr>
          <a:xfrm>
            <a:off x="539496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8" name="Chart Divider"/>
          <p:cNvSpPr>
            <a:spLocks noGrp="1"/>
          </p:cNvSpPr>
          <p:nvPr>
            <p:ph type="pic" sz="quarter" idx="109"/>
          </p:nvPr>
        </p:nvSpPr>
        <p:spPr>
          <a:xfrm>
            <a:off x="686333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9" name="Chart Title"/>
          <p:cNvSpPr>
            <a:spLocks noGrp="1"/>
          </p:cNvSpPr>
          <p:nvPr>
            <p:ph type="body" sz="quarter" idx="110"/>
          </p:nvPr>
        </p:nvSpPr>
        <p:spPr>
          <a:xfrm>
            <a:off x="686333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0" name="Chart Area"/>
          <p:cNvSpPr>
            <a:spLocks noGrp="1"/>
          </p:cNvSpPr>
          <p:nvPr>
            <p:ph sz="quarter" idx="111" hasCustomPrompt="1"/>
          </p:nvPr>
        </p:nvSpPr>
        <p:spPr>
          <a:xfrm>
            <a:off x="686333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11" name="Chart Divider - small"/>
          <p:cNvSpPr>
            <a:spLocks noGrp="1"/>
          </p:cNvSpPr>
          <p:nvPr>
            <p:ph type="pic" sz="quarter" idx="112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2" name="Data Source"/>
          <p:cNvSpPr>
            <a:spLocks noGrp="1"/>
          </p:cNvSpPr>
          <p:nvPr>
            <p:ph type="body" sz="quarter" idx="113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13" name="Sample Size"/>
          <p:cNvSpPr>
            <a:spLocks noGrp="1"/>
          </p:cNvSpPr>
          <p:nvPr>
            <p:ph type="body" sz="quarter" idx="114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36" name="Chart Background"/>
          <p:cNvSpPr>
            <a:spLocks noGrp="1"/>
          </p:cNvSpPr>
          <p:nvPr>
            <p:ph type="body" sz="quarter" idx="122"/>
          </p:nvPr>
        </p:nvSpPr>
        <p:spPr>
          <a:xfrm>
            <a:off x="3282163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7" name="Chart Divider"/>
          <p:cNvSpPr>
            <a:spLocks noGrp="1"/>
          </p:cNvSpPr>
          <p:nvPr>
            <p:ph type="pic" sz="quarter" idx="123"/>
          </p:nvPr>
        </p:nvSpPr>
        <p:spPr>
          <a:xfrm>
            <a:off x="3429000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8" name="Chart Title"/>
          <p:cNvSpPr>
            <a:spLocks noGrp="1"/>
          </p:cNvSpPr>
          <p:nvPr>
            <p:ph type="body" sz="quarter" idx="124"/>
          </p:nvPr>
        </p:nvSpPr>
        <p:spPr>
          <a:xfrm>
            <a:off x="3429000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9" name="Chart Area"/>
          <p:cNvSpPr>
            <a:spLocks noGrp="1"/>
          </p:cNvSpPr>
          <p:nvPr>
            <p:ph sz="quarter" idx="125" hasCustomPrompt="1"/>
          </p:nvPr>
        </p:nvSpPr>
        <p:spPr>
          <a:xfrm>
            <a:off x="3429000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0" name="Chart Divider - small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1" name="Data Source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2" name="Sample Size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6" name="Chart Background"/>
          <p:cNvSpPr>
            <a:spLocks noGrp="1"/>
          </p:cNvSpPr>
          <p:nvPr>
            <p:ph type="body" sz="quarter" idx="20"/>
          </p:nvPr>
        </p:nvSpPr>
        <p:spPr bwMode="auto">
          <a:xfrm>
            <a:off x="539494" y="1383062"/>
            <a:ext cx="5322342" cy="1810987"/>
          </a:xfrm>
          <a:custGeom>
            <a:avLst/>
            <a:gdLst>
              <a:gd name="connsiteX0" fmla="*/ 0 w 5322342"/>
              <a:gd name="connsiteY0" fmla="*/ 0 h 1810987"/>
              <a:gd name="connsiteX1" fmla="*/ 2742668 w 5322342"/>
              <a:gd name="connsiteY1" fmla="*/ 0 h 1810987"/>
              <a:gd name="connsiteX2" fmla="*/ 3124425 w 5322342"/>
              <a:gd name="connsiteY2" fmla="*/ 0 h 1810987"/>
              <a:gd name="connsiteX3" fmla="*/ 5322342 w 5322342"/>
              <a:gd name="connsiteY3" fmla="*/ 0 h 1810987"/>
              <a:gd name="connsiteX4" fmla="*/ 5322342 w 5322342"/>
              <a:gd name="connsiteY4" fmla="*/ 1810987 h 1810987"/>
              <a:gd name="connsiteX5" fmla="*/ 3124425 w 5322342"/>
              <a:gd name="connsiteY5" fmla="*/ 1810987 h 1810987"/>
              <a:gd name="connsiteX6" fmla="*/ 2742668 w 5322342"/>
              <a:gd name="connsiteY6" fmla="*/ 1810987 h 1810987"/>
              <a:gd name="connsiteX7" fmla="*/ 0 w 5322342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1810987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810987"/>
                </a:lnTo>
                <a:lnTo>
                  <a:pt x="3124425" y="1810987"/>
                </a:lnTo>
                <a:lnTo>
                  <a:pt x="2742668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7" name="Chart Divider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50292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Chart Title"/>
          <p:cNvSpPr>
            <a:spLocks noGrp="1"/>
          </p:cNvSpPr>
          <p:nvPr>
            <p:ph type="body" sz="quarter" idx="44"/>
          </p:nvPr>
        </p:nvSpPr>
        <p:spPr bwMode="auto">
          <a:xfrm>
            <a:off x="686331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Chart Area"/>
          <p:cNvSpPr>
            <a:spLocks noGrp="1"/>
          </p:cNvSpPr>
          <p:nvPr>
            <p:ph sz="quarter" idx="68" hasCustomPrompt="1"/>
          </p:nvPr>
        </p:nvSpPr>
        <p:spPr bwMode="auto">
          <a:xfrm>
            <a:off x="686331" y="1775363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0" name="Chart Divider - small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Data Source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2" name="Sample Size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3" name="Main Content - Comment"/>
          <p:cNvSpPr>
            <a:spLocks noGrp="1"/>
          </p:cNvSpPr>
          <p:nvPr>
            <p:ph sz="quarter" idx="17" hasCustomPrompt="1"/>
          </p:nvPr>
        </p:nvSpPr>
        <p:spPr>
          <a:xfrm>
            <a:off x="6299045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1" name="Sub-title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390070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33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4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35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43" name="Text Placeholder 14"/>
          <p:cNvSpPr>
            <a:spLocks noGrp="1"/>
          </p:cNvSpPr>
          <p:nvPr>
            <p:ph type="body" sz="quarter" idx="129"/>
          </p:nvPr>
        </p:nvSpPr>
        <p:spPr>
          <a:xfrm>
            <a:off x="6024830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4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171667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5" name="Text Placeholder 10"/>
          <p:cNvSpPr>
            <a:spLocks noGrp="1"/>
          </p:cNvSpPr>
          <p:nvPr>
            <p:ph type="body" sz="quarter" idx="131"/>
          </p:nvPr>
        </p:nvSpPr>
        <p:spPr>
          <a:xfrm>
            <a:off x="6171667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6" name="Content Placeholder 4"/>
          <p:cNvSpPr>
            <a:spLocks noGrp="1"/>
          </p:cNvSpPr>
          <p:nvPr>
            <p:ph sz="quarter" idx="132" hasCustomPrompt="1"/>
          </p:nvPr>
        </p:nvSpPr>
        <p:spPr>
          <a:xfrm>
            <a:off x="6171667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7" name="Picture Placeholder 11"/>
          <p:cNvSpPr>
            <a:spLocks noGrp="1"/>
          </p:cNvSpPr>
          <p:nvPr>
            <p:ph type="pic" sz="quarter" idx="133"/>
          </p:nvPr>
        </p:nvSpPr>
        <p:spPr>
          <a:xfrm>
            <a:off x="6171667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8" name="Text Placeholder 6"/>
          <p:cNvSpPr>
            <a:spLocks noGrp="1"/>
          </p:cNvSpPr>
          <p:nvPr>
            <p:ph type="body" sz="quarter" idx="134" hasCustomPrompt="1"/>
          </p:nvPr>
        </p:nvSpPr>
        <p:spPr>
          <a:xfrm>
            <a:off x="6171667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9" name="Text Placeholder 6"/>
          <p:cNvSpPr>
            <a:spLocks noGrp="1"/>
          </p:cNvSpPr>
          <p:nvPr>
            <p:ph type="body" sz="quarter" idx="135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6" name="Text Placeholder 65"/>
          <p:cNvSpPr>
            <a:spLocks noGrp="1"/>
          </p:cNvSpPr>
          <p:nvPr>
            <p:ph type="body" sz="quarter" idx="136"/>
          </p:nvPr>
        </p:nvSpPr>
        <p:spPr bwMode="auto">
          <a:xfrm>
            <a:off x="3282163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7" name="Picture Placeholder 11"/>
          <p:cNvSpPr>
            <a:spLocks noGrp="1"/>
          </p:cNvSpPr>
          <p:nvPr>
            <p:ph type="pic" sz="quarter" idx="149"/>
          </p:nvPr>
        </p:nvSpPr>
        <p:spPr>
          <a:xfrm>
            <a:off x="3428733" y="3672836"/>
            <a:ext cx="50292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Text Placeholder 67"/>
          <p:cNvSpPr>
            <a:spLocks noGrp="1"/>
          </p:cNvSpPr>
          <p:nvPr>
            <p:ph type="body" sz="quarter" idx="150"/>
          </p:nvPr>
        </p:nvSpPr>
        <p:spPr bwMode="auto">
          <a:xfrm>
            <a:off x="3428999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Content Placeholder 68"/>
          <p:cNvSpPr>
            <a:spLocks noGrp="1"/>
          </p:cNvSpPr>
          <p:nvPr>
            <p:ph sz="quarter" idx="151" hasCustomPrompt="1"/>
          </p:nvPr>
        </p:nvSpPr>
        <p:spPr bwMode="auto">
          <a:xfrm>
            <a:off x="3428999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0" name="Picture Placeholder 11"/>
          <p:cNvSpPr>
            <a:spLocks noGrp="1"/>
          </p:cNvSpPr>
          <p:nvPr>
            <p:ph type="pic" sz="quarter" idx="152"/>
          </p:nvPr>
        </p:nvSpPr>
        <p:spPr>
          <a:xfrm>
            <a:off x="3428733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153" hasCustomPrompt="1"/>
          </p:nvPr>
        </p:nvSpPr>
        <p:spPr>
          <a:xfrm>
            <a:off x="3428999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154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6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42008095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86333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69"/>
          </p:nvPr>
        </p:nvSpPr>
        <p:spPr>
          <a:xfrm>
            <a:off x="686333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686333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107" hasCustomPrompt="1"/>
          </p:nvPr>
        </p:nvSpPr>
        <p:spPr>
          <a:xfrm>
            <a:off x="2527706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Content Placeholder 4"/>
          <p:cNvSpPr>
            <a:spLocks noGrp="1"/>
          </p:cNvSpPr>
          <p:nvPr>
            <p:ph sz="quarter" idx="118" hasCustomPrompt="1"/>
          </p:nvPr>
        </p:nvSpPr>
        <p:spPr>
          <a:xfrm>
            <a:off x="3429000" y="1775363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33" name="Picture Placeholder 11"/>
          <p:cNvSpPr>
            <a:spLocks noGrp="1"/>
          </p:cNvSpPr>
          <p:nvPr>
            <p:ph type="pic" sz="quarter" idx="119"/>
          </p:nvPr>
        </p:nvSpPr>
        <p:spPr>
          <a:xfrm>
            <a:off x="3429000" y="2935646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4" name="Text Placeholder 6"/>
          <p:cNvSpPr>
            <a:spLocks noGrp="1"/>
          </p:cNvSpPr>
          <p:nvPr>
            <p:ph type="body" sz="quarter" idx="120" hasCustomPrompt="1"/>
          </p:nvPr>
        </p:nvSpPr>
        <p:spPr>
          <a:xfrm>
            <a:off x="3429000" y="2980362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35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5270373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6" name="Text Placeholder 65"/>
          <p:cNvSpPr>
            <a:spLocks noGrp="1"/>
          </p:cNvSpPr>
          <p:nvPr>
            <p:ph type="body" sz="quarter" idx="108"/>
          </p:nvPr>
        </p:nvSpPr>
        <p:spPr bwMode="auto">
          <a:xfrm>
            <a:off x="539496" y="3325250"/>
            <a:ext cx="5322341" cy="1810987"/>
          </a:xfrm>
          <a:custGeom>
            <a:avLst/>
            <a:gdLst>
              <a:gd name="connsiteX0" fmla="*/ 0 w 5322341"/>
              <a:gd name="connsiteY0" fmla="*/ 0 h 1810987"/>
              <a:gd name="connsiteX1" fmla="*/ 2742667 w 5322341"/>
              <a:gd name="connsiteY1" fmla="*/ 0 h 1810987"/>
              <a:gd name="connsiteX2" fmla="*/ 2889504 w 5322341"/>
              <a:gd name="connsiteY2" fmla="*/ 0 h 1810987"/>
              <a:gd name="connsiteX3" fmla="*/ 5322341 w 5322341"/>
              <a:gd name="connsiteY3" fmla="*/ 0 h 1810987"/>
              <a:gd name="connsiteX4" fmla="*/ 5322341 w 5322341"/>
              <a:gd name="connsiteY4" fmla="*/ 1810987 h 1810987"/>
              <a:gd name="connsiteX5" fmla="*/ 2889504 w 5322341"/>
              <a:gd name="connsiteY5" fmla="*/ 1810987 h 1810987"/>
              <a:gd name="connsiteX6" fmla="*/ 2742667 w 5322341"/>
              <a:gd name="connsiteY6" fmla="*/ 1810987 h 1810987"/>
              <a:gd name="connsiteX7" fmla="*/ 0 w 5322341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1" h="1810987">
                <a:moveTo>
                  <a:pt x="0" y="0"/>
                </a:moveTo>
                <a:lnTo>
                  <a:pt x="2742667" y="0"/>
                </a:lnTo>
                <a:lnTo>
                  <a:pt x="2889504" y="0"/>
                </a:lnTo>
                <a:lnTo>
                  <a:pt x="5322341" y="0"/>
                </a:lnTo>
                <a:lnTo>
                  <a:pt x="5322341" y="1810987"/>
                </a:lnTo>
                <a:lnTo>
                  <a:pt x="2889504" y="1810987"/>
                </a:lnTo>
                <a:lnTo>
                  <a:pt x="2742667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7" name="Picture Placeholder 11"/>
          <p:cNvSpPr>
            <a:spLocks noGrp="1"/>
          </p:cNvSpPr>
          <p:nvPr>
            <p:ph type="pic" sz="quarter" idx="143"/>
          </p:nvPr>
        </p:nvSpPr>
        <p:spPr>
          <a:xfrm>
            <a:off x="686066" y="3672836"/>
            <a:ext cx="50292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Text Placeholder 67"/>
          <p:cNvSpPr>
            <a:spLocks noGrp="1"/>
          </p:cNvSpPr>
          <p:nvPr>
            <p:ph type="body" sz="quarter" idx="144"/>
          </p:nvPr>
        </p:nvSpPr>
        <p:spPr bwMode="auto">
          <a:xfrm>
            <a:off x="686332" y="3443751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69" name="Content Placeholder 68"/>
          <p:cNvSpPr>
            <a:spLocks noGrp="1"/>
          </p:cNvSpPr>
          <p:nvPr>
            <p:ph sz="quarter" idx="149" hasCustomPrompt="1"/>
          </p:nvPr>
        </p:nvSpPr>
        <p:spPr bwMode="auto">
          <a:xfrm>
            <a:off x="686332" y="3717551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0" name="Picture Placeholder 11"/>
          <p:cNvSpPr>
            <a:spLocks noGrp="1"/>
          </p:cNvSpPr>
          <p:nvPr>
            <p:ph type="pic" sz="quarter" idx="146"/>
          </p:nvPr>
        </p:nvSpPr>
        <p:spPr>
          <a:xfrm>
            <a:off x="686066" y="4877834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Text Placeholder 6"/>
          <p:cNvSpPr>
            <a:spLocks noGrp="1"/>
          </p:cNvSpPr>
          <p:nvPr>
            <p:ph type="body" sz="quarter" idx="147" hasCustomPrompt="1"/>
          </p:nvPr>
        </p:nvSpPr>
        <p:spPr>
          <a:xfrm>
            <a:off x="686332" y="4922550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150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299045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8462654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9496" y="1713831"/>
            <a:ext cx="8065008" cy="3225722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896394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6" name="Text Placeholder 14"/>
          <p:cNvSpPr>
            <a:spLocks noGrp="1"/>
          </p:cNvSpPr>
          <p:nvPr>
            <p:ph type="body" sz="quarter" idx="122"/>
          </p:nvPr>
        </p:nvSpPr>
        <p:spPr>
          <a:xfrm>
            <a:off x="3282163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7" name="Picture Placeholder 11"/>
          <p:cNvSpPr>
            <a:spLocks noGrp="1"/>
          </p:cNvSpPr>
          <p:nvPr>
            <p:ph type="pic" sz="quarter" idx="123"/>
          </p:nvPr>
        </p:nvSpPr>
        <p:spPr>
          <a:xfrm>
            <a:off x="3429000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8" name="Text Placeholder 10"/>
          <p:cNvSpPr>
            <a:spLocks noGrp="1"/>
          </p:cNvSpPr>
          <p:nvPr>
            <p:ph type="body" sz="quarter" idx="124"/>
          </p:nvPr>
        </p:nvSpPr>
        <p:spPr>
          <a:xfrm>
            <a:off x="3429000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9" name="Content Placeholder 4"/>
          <p:cNvSpPr>
            <a:spLocks noGrp="1"/>
          </p:cNvSpPr>
          <p:nvPr>
            <p:ph sz="quarter" idx="125" hasCustomPrompt="1"/>
          </p:nvPr>
        </p:nvSpPr>
        <p:spPr>
          <a:xfrm>
            <a:off x="3429000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40" name="Picture Placeholder 11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1" name="Text Placeholder 6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42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50" name="Text Placeholder 14"/>
          <p:cNvSpPr>
            <a:spLocks noGrp="1"/>
          </p:cNvSpPr>
          <p:nvPr>
            <p:ph type="body" sz="quarter" idx="136"/>
          </p:nvPr>
        </p:nvSpPr>
        <p:spPr>
          <a:xfrm>
            <a:off x="6024830" y="3325250"/>
            <a:ext cx="2579674" cy="181098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1" name="Picture Placeholder 11"/>
          <p:cNvSpPr>
            <a:spLocks noGrp="1"/>
          </p:cNvSpPr>
          <p:nvPr>
            <p:ph type="pic" sz="quarter" idx="137"/>
          </p:nvPr>
        </p:nvSpPr>
        <p:spPr>
          <a:xfrm>
            <a:off x="6171667" y="3672836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2" name="Text Placeholder 10"/>
          <p:cNvSpPr>
            <a:spLocks noGrp="1"/>
          </p:cNvSpPr>
          <p:nvPr>
            <p:ph type="body" sz="quarter" idx="138"/>
          </p:nvPr>
        </p:nvSpPr>
        <p:spPr>
          <a:xfrm>
            <a:off x="6171667" y="3443751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3" name="Content Placeholder 4"/>
          <p:cNvSpPr>
            <a:spLocks noGrp="1"/>
          </p:cNvSpPr>
          <p:nvPr>
            <p:ph sz="quarter" idx="139" hasCustomPrompt="1"/>
          </p:nvPr>
        </p:nvSpPr>
        <p:spPr>
          <a:xfrm>
            <a:off x="6171667" y="3717551"/>
            <a:ext cx="2286000" cy="1124712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154" name="Picture Placeholder 11"/>
          <p:cNvSpPr>
            <a:spLocks noGrp="1"/>
          </p:cNvSpPr>
          <p:nvPr>
            <p:ph type="pic" sz="quarter" idx="140"/>
          </p:nvPr>
        </p:nvSpPr>
        <p:spPr>
          <a:xfrm>
            <a:off x="6171667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5" name="Text Placeholder 6"/>
          <p:cNvSpPr>
            <a:spLocks noGrp="1"/>
          </p:cNvSpPr>
          <p:nvPr>
            <p:ph type="body" sz="quarter" idx="141" hasCustomPrompt="1"/>
          </p:nvPr>
        </p:nvSpPr>
        <p:spPr>
          <a:xfrm>
            <a:off x="6171667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156" name="Text Placeholder 6"/>
          <p:cNvSpPr>
            <a:spLocks noGrp="1"/>
          </p:cNvSpPr>
          <p:nvPr>
            <p:ph type="body" sz="quarter" idx="142" hasCustomPrompt="1"/>
          </p:nvPr>
        </p:nvSpPr>
        <p:spPr>
          <a:xfrm>
            <a:off x="8013040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43"/>
          </p:nvPr>
        </p:nvSpPr>
        <p:spPr bwMode="auto">
          <a:xfrm>
            <a:off x="3282162" y="1383062"/>
            <a:ext cx="5322342" cy="1810987"/>
          </a:xfrm>
          <a:custGeom>
            <a:avLst/>
            <a:gdLst>
              <a:gd name="connsiteX0" fmla="*/ 0 w 5322342"/>
              <a:gd name="connsiteY0" fmla="*/ 0 h 1810987"/>
              <a:gd name="connsiteX1" fmla="*/ 2742668 w 5322342"/>
              <a:gd name="connsiteY1" fmla="*/ 0 h 1810987"/>
              <a:gd name="connsiteX2" fmla="*/ 3124425 w 5322342"/>
              <a:gd name="connsiteY2" fmla="*/ 0 h 1810987"/>
              <a:gd name="connsiteX3" fmla="*/ 5322342 w 5322342"/>
              <a:gd name="connsiteY3" fmla="*/ 0 h 1810987"/>
              <a:gd name="connsiteX4" fmla="*/ 5322342 w 5322342"/>
              <a:gd name="connsiteY4" fmla="*/ 1810987 h 1810987"/>
              <a:gd name="connsiteX5" fmla="*/ 3124425 w 5322342"/>
              <a:gd name="connsiteY5" fmla="*/ 1810987 h 1810987"/>
              <a:gd name="connsiteX6" fmla="*/ 2742668 w 5322342"/>
              <a:gd name="connsiteY6" fmla="*/ 1810987 h 1810987"/>
              <a:gd name="connsiteX7" fmla="*/ 0 w 5322342"/>
              <a:gd name="connsiteY7" fmla="*/ 1810987 h 1810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22342" h="1810987">
                <a:moveTo>
                  <a:pt x="0" y="0"/>
                </a:moveTo>
                <a:lnTo>
                  <a:pt x="2742668" y="0"/>
                </a:lnTo>
                <a:lnTo>
                  <a:pt x="3124425" y="0"/>
                </a:lnTo>
                <a:lnTo>
                  <a:pt x="5322342" y="0"/>
                </a:lnTo>
                <a:lnTo>
                  <a:pt x="5322342" y="1810987"/>
                </a:lnTo>
                <a:lnTo>
                  <a:pt x="3124425" y="1810987"/>
                </a:lnTo>
                <a:lnTo>
                  <a:pt x="2742668" y="1810987"/>
                </a:lnTo>
                <a:lnTo>
                  <a:pt x="0" y="1810987"/>
                </a:lnTo>
                <a:close/>
              </a:path>
            </a:pathLst>
          </a:custGeom>
          <a:solidFill>
            <a:srgbClr val="F1F1F2"/>
          </a:solidFill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8" name="Picture Placeholder 11"/>
          <p:cNvSpPr>
            <a:spLocks noGrp="1"/>
          </p:cNvSpPr>
          <p:nvPr>
            <p:ph type="pic" sz="quarter" idx="144"/>
          </p:nvPr>
        </p:nvSpPr>
        <p:spPr>
          <a:xfrm>
            <a:off x="3428733" y="1730648"/>
            <a:ext cx="50292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45"/>
          </p:nvPr>
        </p:nvSpPr>
        <p:spPr bwMode="auto">
          <a:xfrm>
            <a:off x="3428999" y="1501563"/>
            <a:ext cx="5028668" cy="193514"/>
          </a:xfrm>
          <a:custGeom>
            <a:avLst/>
            <a:gdLst>
              <a:gd name="connsiteX0" fmla="*/ 0 w 5028668"/>
              <a:gd name="connsiteY0" fmla="*/ 0 h 193514"/>
              <a:gd name="connsiteX1" fmla="*/ 2742668 w 5028668"/>
              <a:gd name="connsiteY1" fmla="*/ 0 h 193514"/>
              <a:gd name="connsiteX2" fmla="*/ 3072867 w 5028668"/>
              <a:gd name="connsiteY2" fmla="*/ 0 h 193514"/>
              <a:gd name="connsiteX3" fmla="*/ 5028668 w 5028668"/>
              <a:gd name="connsiteY3" fmla="*/ 0 h 193514"/>
              <a:gd name="connsiteX4" fmla="*/ 5028668 w 5028668"/>
              <a:gd name="connsiteY4" fmla="*/ 193514 h 193514"/>
              <a:gd name="connsiteX5" fmla="*/ 3072867 w 5028668"/>
              <a:gd name="connsiteY5" fmla="*/ 193514 h 193514"/>
              <a:gd name="connsiteX6" fmla="*/ 2742668 w 5028668"/>
              <a:gd name="connsiteY6" fmla="*/ 193514 h 193514"/>
              <a:gd name="connsiteX7" fmla="*/ 0 w 5028668"/>
              <a:gd name="connsiteY7" fmla="*/ 193514 h 19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93514">
                <a:moveTo>
                  <a:pt x="0" y="0"/>
                </a:moveTo>
                <a:lnTo>
                  <a:pt x="2742668" y="0"/>
                </a:lnTo>
                <a:lnTo>
                  <a:pt x="3072867" y="0"/>
                </a:lnTo>
                <a:lnTo>
                  <a:pt x="5028668" y="0"/>
                </a:lnTo>
                <a:lnTo>
                  <a:pt x="5028668" y="193514"/>
                </a:lnTo>
                <a:lnTo>
                  <a:pt x="3072867" y="193514"/>
                </a:lnTo>
                <a:lnTo>
                  <a:pt x="2742668" y="193514"/>
                </a:lnTo>
                <a:lnTo>
                  <a:pt x="0" y="193514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0" name="Content Placeholder 69"/>
          <p:cNvSpPr>
            <a:spLocks noGrp="1"/>
          </p:cNvSpPr>
          <p:nvPr>
            <p:ph sz="quarter" idx="146" hasCustomPrompt="1"/>
          </p:nvPr>
        </p:nvSpPr>
        <p:spPr bwMode="auto">
          <a:xfrm>
            <a:off x="3428999" y="1775363"/>
            <a:ext cx="5028668" cy="1124712"/>
          </a:xfrm>
          <a:custGeom>
            <a:avLst/>
            <a:gdLst>
              <a:gd name="connsiteX0" fmla="*/ 0 w 5028668"/>
              <a:gd name="connsiteY0" fmla="*/ 0 h 1124712"/>
              <a:gd name="connsiteX1" fmla="*/ 2742668 w 5028668"/>
              <a:gd name="connsiteY1" fmla="*/ 0 h 1124712"/>
              <a:gd name="connsiteX2" fmla="*/ 2869667 w 5028668"/>
              <a:gd name="connsiteY2" fmla="*/ 0 h 1124712"/>
              <a:gd name="connsiteX3" fmla="*/ 5028668 w 5028668"/>
              <a:gd name="connsiteY3" fmla="*/ 0 h 1124712"/>
              <a:gd name="connsiteX4" fmla="*/ 5028668 w 5028668"/>
              <a:gd name="connsiteY4" fmla="*/ 1124712 h 1124712"/>
              <a:gd name="connsiteX5" fmla="*/ 2869667 w 5028668"/>
              <a:gd name="connsiteY5" fmla="*/ 1124712 h 1124712"/>
              <a:gd name="connsiteX6" fmla="*/ 2742668 w 5028668"/>
              <a:gd name="connsiteY6" fmla="*/ 1124712 h 1124712"/>
              <a:gd name="connsiteX7" fmla="*/ 0 w 5028668"/>
              <a:gd name="connsiteY7" fmla="*/ 1124712 h 1124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28668" h="1124712">
                <a:moveTo>
                  <a:pt x="0" y="0"/>
                </a:moveTo>
                <a:lnTo>
                  <a:pt x="2742668" y="0"/>
                </a:lnTo>
                <a:lnTo>
                  <a:pt x="2869667" y="0"/>
                </a:lnTo>
                <a:lnTo>
                  <a:pt x="5028668" y="0"/>
                </a:lnTo>
                <a:lnTo>
                  <a:pt x="5028668" y="1124712"/>
                </a:lnTo>
                <a:lnTo>
                  <a:pt x="2869667" y="1124712"/>
                </a:lnTo>
                <a:lnTo>
                  <a:pt x="2742668" y="1124712"/>
                </a:lnTo>
                <a:lnTo>
                  <a:pt x="0" y="1124712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1" name="Picture Placeholder 11"/>
          <p:cNvSpPr>
            <a:spLocks noGrp="1"/>
          </p:cNvSpPr>
          <p:nvPr>
            <p:ph type="pic" sz="quarter" idx="147"/>
          </p:nvPr>
        </p:nvSpPr>
        <p:spPr>
          <a:xfrm>
            <a:off x="3428733" y="2935646"/>
            <a:ext cx="50292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2" name="Text Placeholder 6"/>
          <p:cNvSpPr>
            <a:spLocks noGrp="1"/>
          </p:cNvSpPr>
          <p:nvPr>
            <p:ph type="body" sz="quarter" idx="148" hasCustomPrompt="1"/>
          </p:nvPr>
        </p:nvSpPr>
        <p:spPr>
          <a:xfrm>
            <a:off x="3428999" y="2980362"/>
            <a:ext cx="4584040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73" name="Text Placeholder 6"/>
          <p:cNvSpPr>
            <a:spLocks noGrp="1"/>
          </p:cNvSpPr>
          <p:nvPr>
            <p:ph type="body" sz="quarter" idx="121" hasCustomPrompt="1"/>
          </p:nvPr>
        </p:nvSpPr>
        <p:spPr>
          <a:xfrm>
            <a:off x="8013040" y="2980362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74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6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41223354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3 Columns -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83062"/>
            <a:ext cx="2579674" cy="376043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86333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86333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9" name="Text Placeholder 14"/>
          <p:cNvSpPr>
            <a:spLocks noGrp="1"/>
          </p:cNvSpPr>
          <p:nvPr>
            <p:ph type="body" sz="quarter" idx="115"/>
          </p:nvPr>
        </p:nvSpPr>
        <p:spPr>
          <a:xfrm>
            <a:off x="3282163" y="1383062"/>
            <a:ext cx="2579674" cy="376043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0" name="Picture Placeholder 11"/>
          <p:cNvSpPr>
            <a:spLocks noGrp="1"/>
          </p:cNvSpPr>
          <p:nvPr>
            <p:ph type="pic" sz="quarter" idx="116"/>
          </p:nvPr>
        </p:nvSpPr>
        <p:spPr>
          <a:xfrm>
            <a:off x="3429000" y="1730648"/>
            <a:ext cx="2286000" cy="14700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1" name="Text Placeholder 10"/>
          <p:cNvSpPr>
            <a:spLocks noGrp="1"/>
          </p:cNvSpPr>
          <p:nvPr>
            <p:ph type="body" sz="quarter" idx="117"/>
          </p:nvPr>
        </p:nvSpPr>
        <p:spPr>
          <a:xfrm>
            <a:off x="3429000" y="1501563"/>
            <a:ext cx="2286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3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299045" y="1501563"/>
            <a:ext cx="2305459" cy="36419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0" name="Content Placeholder 49"/>
          <p:cNvSpPr>
            <a:spLocks noGrp="1"/>
          </p:cNvSpPr>
          <p:nvPr>
            <p:ph sz="quarter" idx="125" hasCustomPrompt="1"/>
          </p:nvPr>
        </p:nvSpPr>
        <p:spPr bwMode="auto">
          <a:xfrm>
            <a:off x="3429000" y="1775363"/>
            <a:ext cx="2286000" cy="3066900"/>
          </a:xfrm>
          <a:custGeom>
            <a:avLst/>
            <a:gdLst>
              <a:gd name="connsiteX0" fmla="*/ 0 w 2286000"/>
              <a:gd name="connsiteY0" fmla="*/ 0 h 3066900"/>
              <a:gd name="connsiteX1" fmla="*/ 2286000 w 2286000"/>
              <a:gd name="connsiteY1" fmla="*/ 0 h 3066900"/>
              <a:gd name="connsiteX2" fmla="*/ 2286000 w 2286000"/>
              <a:gd name="connsiteY2" fmla="*/ 842637 h 3066900"/>
              <a:gd name="connsiteX3" fmla="*/ 2286000 w 2286000"/>
              <a:gd name="connsiteY3" fmla="*/ 1124712 h 3066900"/>
              <a:gd name="connsiteX4" fmla="*/ 2286000 w 2286000"/>
              <a:gd name="connsiteY4" fmla="*/ 3066900 h 3066900"/>
              <a:gd name="connsiteX5" fmla="*/ 0 w 2286000"/>
              <a:gd name="connsiteY5" fmla="*/ 3066900 h 3066900"/>
              <a:gd name="connsiteX6" fmla="*/ 0 w 2286000"/>
              <a:gd name="connsiteY6" fmla="*/ 1124712 h 3066900"/>
              <a:gd name="connsiteX7" fmla="*/ 0 w 2286000"/>
              <a:gd name="connsiteY7" fmla="*/ 842637 h 306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0">
                <a:moveTo>
                  <a:pt x="0" y="0"/>
                </a:moveTo>
                <a:lnTo>
                  <a:pt x="2286000" y="0"/>
                </a:lnTo>
                <a:lnTo>
                  <a:pt x="2286000" y="842637"/>
                </a:lnTo>
                <a:lnTo>
                  <a:pt x="2286000" y="1124712"/>
                </a:lnTo>
                <a:lnTo>
                  <a:pt x="2286000" y="3066900"/>
                </a:lnTo>
                <a:lnTo>
                  <a:pt x="0" y="3066900"/>
                </a:lnTo>
                <a:lnTo>
                  <a:pt x="0" y="1124712"/>
                </a:lnTo>
                <a:lnTo>
                  <a:pt x="0" y="842637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7" name="Picture Placeholder 11"/>
          <p:cNvSpPr>
            <a:spLocks noGrp="1"/>
          </p:cNvSpPr>
          <p:nvPr>
            <p:ph type="pic" sz="quarter" idx="126"/>
          </p:nvPr>
        </p:nvSpPr>
        <p:spPr>
          <a:xfrm>
            <a:off x="3429000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127" hasCustomPrompt="1"/>
          </p:nvPr>
        </p:nvSpPr>
        <p:spPr>
          <a:xfrm>
            <a:off x="3429000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128" hasCustomPrompt="1"/>
          </p:nvPr>
        </p:nvSpPr>
        <p:spPr>
          <a:xfrm>
            <a:off x="5270373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51" name="Content Placeholder 50"/>
          <p:cNvSpPr>
            <a:spLocks noGrp="1"/>
          </p:cNvSpPr>
          <p:nvPr>
            <p:ph sz="quarter" idx="129" hasCustomPrompt="1"/>
          </p:nvPr>
        </p:nvSpPr>
        <p:spPr bwMode="auto">
          <a:xfrm>
            <a:off x="686333" y="1775363"/>
            <a:ext cx="2286000" cy="3066900"/>
          </a:xfrm>
          <a:custGeom>
            <a:avLst/>
            <a:gdLst>
              <a:gd name="connsiteX0" fmla="*/ 0 w 2286000"/>
              <a:gd name="connsiteY0" fmla="*/ 0 h 3066900"/>
              <a:gd name="connsiteX1" fmla="*/ 2286000 w 2286000"/>
              <a:gd name="connsiteY1" fmla="*/ 0 h 3066900"/>
              <a:gd name="connsiteX2" fmla="*/ 2286000 w 2286000"/>
              <a:gd name="connsiteY2" fmla="*/ 842637 h 3066900"/>
              <a:gd name="connsiteX3" fmla="*/ 2286000 w 2286000"/>
              <a:gd name="connsiteY3" fmla="*/ 1124712 h 3066900"/>
              <a:gd name="connsiteX4" fmla="*/ 2286000 w 2286000"/>
              <a:gd name="connsiteY4" fmla="*/ 3066900 h 3066900"/>
              <a:gd name="connsiteX5" fmla="*/ 0 w 2286000"/>
              <a:gd name="connsiteY5" fmla="*/ 3066900 h 3066900"/>
              <a:gd name="connsiteX6" fmla="*/ 0 w 2286000"/>
              <a:gd name="connsiteY6" fmla="*/ 1124712 h 3066900"/>
              <a:gd name="connsiteX7" fmla="*/ 0 w 2286000"/>
              <a:gd name="connsiteY7" fmla="*/ 842637 h 306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86000" h="3066900">
                <a:moveTo>
                  <a:pt x="0" y="0"/>
                </a:moveTo>
                <a:lnTo>
                  <a:pt x="2286000" y="0"/>
                </a:lnTo>
                <a:lnTo>
                  <a:pt x="2286000" y="842637"/>
                </a:lnTo>
                <a:lnTo>
                  <a:pt x="2286000" y="1124712"/>
                </a:lnTo>
                <a:lnTo>
                  <a:pt x="2286000" y="3066900"/>
                </a:lnTo>
                <a:lnTo>
                  <a:pt x="0" y="3066900"/>
                </a:lnTo>
                <a:lnTo>
                  <a:pt x="0" y="1124712"/>
                </a:lnTo>
                <a:lnTo>
                  <a:pt x="0" y="842637"/>
                </a:lnTo>
                <a:close/>
              </a:path>
            </a:pathLst>
          </a:cu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2" name="Picture Placeholder 11"/>
          <p:cNvSpPr>
            <a:spLocks noGrp="1"/>
          </p:cNvSpPr>
          <p:nvPr>
            <p:ph type="pic" sz="quarter" idx="130"/>
          </p:nvPr>
        </p:nvSpPr>
        <p:spPr>
          <a:xfrm>
            <a:off x="686333" y="4877834"/>
            <a:ext cx="2286000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131" hasCustomPrompt="1"/>
          </p:nvPr>
        </p:nvSpPr>
        <p:spPr>
          <a:xfrm>
            <a:off x="686333" y="4922550"/>
            <a:ext cx="1841373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132" hasCustomPrompt="1"/>
          </p:nvPr>
        </p:nvSpPr>
        <p:spPr>
          <a:xfrm>
            <a:off x="2527706" y="4922550"/>
            <a:ext cx="44462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2211035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- 3 Columns -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319276"/>
            <a:ext cx="2468023" cy="1225421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693507" y="1628646"/>
            <a:ext cx="2160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693507" y="1387761"/>
            <a:ext cx="2160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68" hasCustomPrompt="1"/>
          </p:nvPr>
        </p:nvSpPr>
        <p:spPr>
          <a:xfrm>
            <a:off x="693507" y="1685161"/>
            <a:ext cx="2160000" cy="7176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69"/>
          </p:nvPr>
        </p:nvSpPr>
        <p:spPr>
          <a:xfrm>
            <a:off x="539496" y="2671862"/>
            <a:ext cx="2468023" cy="1225421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70"/>
          </p:nvPr>
        </p:nvSpPr>
        <p:spPr>
          <a:xfrm>
            <a:off x="539496" y="4024448"/>
            <a:ext cx="2468023" cy="1225421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71"/>
          </p:nvPr>
        </p:nvSpPr>
        <p:spPr>
          <a:xfrm>
            <a:off x="3337989" y="1319276"/>
            <a:ext cx="2468023" cy="190171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73"/>
          </p:nvPr>
        </p:nvSpPr>
        <p:spPr>
          <a:xfrm>
            <a:off x="3337989" y="3348155"/>
            <a:ext cx="2468023" cy="190171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74"/>
          </p:nvPr>
        </p:nvSpPr>
        <p:spPr>
          <a:xfrm>
            <a:off x="6136481" y="1319276"/>
            <a:ext cx="2468023" cy="190171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Text Placeholder 14"/>
          <p:cNvSpPr>
            <a:spLocks noGrp="1"/>
          </p:cNvSpPr>
          <p:nvPr>
            <p:ph type="body" sz="quarter" idx="75"/>
          </p:nvPr>
        </p:nvSpPr>
        <p:spPr>
          <a:xfrm>
            <a:off x="6136481" y="3348155"/>
            <a:ext cx="2468023" cy="1901714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1"/>
          <p:cNvSpPr>
            <a:spLocks noGrp="1"/>
          </p:cNvSpPr>
          <p:nvPr>
            <p:ph type="pic" sz="quarter" idx="76"/>
          </p:nvPr>
        </p:nvSpPr>
        <p:spPr>
          <a:xfrm>
            <a:off x="693507" y="2988801"/>
            <a:ext cx="2160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77"/>
          </p:nvPr>
        </p:nvSpPr>
        <p:spPr>
          <a:xfrm>
            <a:off x="693507" y="2747916"/>
            <a:ext cx="2160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3" name="Content Placeholder 4"/>
          <p:cNvSpPr>
            <a:spLocks noGrp="1"/>
          </p:cNvSpPr>
          <p:nvPr>
            <p:ph sz="quarter" idx="78" hasCustomPrompt="1"/>
          </p:nvPr>
        </p:nvSpPr>
        <p:spPr>
          <a:xfrm>
            <a:off x="693507" y="3045316"/>
            <a:ext cx="2160000" cy="7176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4" name="Picture Placeholder 11"/>
          <p:cNvSpPr>
            <a:spLocks noGrp="1"/>
          </p:cNvSpPr>
          <p:nvPr>
            <p:ph type="pic" sz="quarter" idx="79"/>
          </p:nvPr>
        </p:nvSpPr>
        <p:spPr>
          <a:xfrm>
            <a:off x="693507" y="4344727"/>
            <a:ext cx="2160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Text Placeholder 10"/>
          <p:cNvSpPr>
            <a:spLocks noGrp="1"/>
          </p:cNvSpPr>
          <p:nvPr>
            <p:ph type="body" sz="quarter" idx="80"/>
          </p:nvPr>
        </p:nvSpPr>
        <p:spPr>
          <a:xfrm>
            <a:off x="693507" y="4103842"/>
            <a:ext cx="2160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4"/>
          <p:cNvSpPr>
            <a:spLocks noGrp="1"/>
          </p:cNvSpPr>
          <p:nvPr>
            <p:ph sz="quarter" idx="81" hasCustomPrompt="1"/>
          </p:nvPr>
        </p:nvSpPr>
        <p:spPr>
          <a:xfrm>
            <a:off x="693507" y="4401242"/>
            <a:ext cx="2160000" cy="717628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37" name="Picture Placeholder 11"/>
          <p:cNvSpPr>
            <a:spLocks noGrp="1"/>
          </p:cNvSpPr>
          <p:nvPr>
            <p:ph type="pic" sz="quarter" idx="82"/>
          </p:nvPr>
        </p:nvSpPr>
        <p:spPr>
          <a:xfrm>
            <a:off x="3492000" y="1628646"/>
            <a:ext cx="2160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83"/>
          </p:nvPr>
        </p:nvSpPr>
        <p:spPr>
          <a:xfrm>
            <a:off x="3492000" y="1387761"/>
            <a:ext cx="2160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9" name="Content Placeholder 4"/>
          <p:cNvSpPr>
            <a:spLocks noGrp="1"/>
          </p:cNvSpPr>
          <p:nvPr>
            <p:ph sz="quarter" idx="84" hasCustomPrompt="1"/>
          </p:nvPr>
        </p:nvSpPr>
        <p:spPr>
          <a:xfrm>
            <a:off x="3492000" y="1685160"/>
            <a:ext cx="2160000" cy="1393921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0" name="Picture Placeholder 11"/>
          <p:cNvSpPr>
            <a:spLocks noGrp="1"/>
          </p:cNvSpPr>
          <p:nvPr>
            <p:ph type="pic" sz="quarter" idx="85"/>
          </p:nvPr>
        </p:nvSpPr>
        <p:spPr>
          <a:xfrm>
            <a:off x="3492000" y="3668435"/>
            <a:ext cx="2160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1" name="Text Placeholder 10"/>
          <p:cNvSpPr>
            <a:spLocks noGrp="1"/>
          </p:cNvSpPr>
          <p:nvPr>
            <p:ph type="body" sz="quarter" idx="86"/>
          </p:nvPr>
        </p:nvSpPr>
        <p:spPr>
          <a:xfrm>
            <a:off x="3492000" y="3427550"/>
            <a:ext cx="2160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2" name="Content Placeholder 4"/>
          <p:cNvSpPr>
            <a:spLocks noGrp="1"/>
          </p:cNvSpPr>
          <p:nvPr>
            <p:ph sz="quarter" idx="87" hasCustomPrompt="1"/>
          </p:nvPr>
        </p:nvSpPr>
        <p:spPr>
          <a:xfrm>
            <a:off x="3492000" y="3724949"/>
            <a:ext cx="2160000" cy="1393921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3" name="Picture Placeholder 11"/>
          <p:cNvSpPr>
            <a:spLocks noGrp="1"/>
          </p:cNvSpPr>
          <p:nvPr>
            <p:ph type="pic" sz="quarter" idx="88"/>
          </p:nvPr>
        </p:nvSpPr>
        <p:spPr>
          <a:xfrm>
            <a:off x="6290492" y="3668435"/>
            <a:ext cx="2160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4" name="Text Placeholder 10"/>
          <p:cNvSpPr>
            <a:spLocks noGrp="1"/>
          </p:cNvSpPr>
          <p:nvPr>
            <p:ph type="body" sz="quarter" idx="89"/>
          </p:nvPr>
        </p:nvSpPr>
        <p:spPr>
          <a:xfrm>
            <a:off x="6290492" y="3427550"/>
            <a:ext cx="2160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Content Placeholder 4"/>
          <p:cNvSpPr>
            <a:spLocks noGrp="1"/>
          </p:cNvSpPr>
          <p:nvPr>
            <p:ph sz="quarter" idx="90" hasCustomPrompt="1"/>
          </p:nvPr>
        </p:nvSpPr>
        <p:spPr>
          <a:xfrm>
            <a:off x="6290492" y="3724949"/>
            <a:ext cx="2160000" cy="1393921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6" name="Picture Placeholder 11"/>
          <p:cNvSpPr>
            <a:spLocks noGrp="1"/>
          </p:cNvSpPr>
          <p:nvPr>
            <p:ph type="pic" sz="quarter" idx="91"/>
          </p:nvPr>
        </p:nvSpPr>
        <p:spPr>
          <a:xfrm>
            <a:off x="6290492" y="1628646"/>
            <a:ext cx="2160000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92"/>
          </p:nvPr>
        </p:nvSpPr>
        <p:spPr>
          <a:xfrm>
            <a:off x="6290492" y="1387761"/>
            <a:ext cx="2160000" cy="193514"/>
          </a:xfrm>
        </p:spPr>
        <p:txBody>
          <a:bodyPr t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6" name="Content Placeholder 4"/>
          <p:cNvSpPr>
            <a:spLocks noGrp="1"/>
          </p:cNvSpPr>
          <p:nvPr>
            <p:ph sz="quarter" idx="93" hasCustomPrompt="1"/>
          </p:nvPr>
        </p:nvSpPr>
        <p:spPr>
          <a:xfrm>
            <a:off x="6290492" y="1685160"/>
            <a:ext cx="2160000" cy="1393921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</p:spTree>
    <p:extLst>
      <p:ext uri="{BB962C8B-B14F-4D97-AF65-F5344CB8AC3E}">
        <p14:creationId xmlns:p14="http://schemas.microsoft.com/office/powerpoint/2010/main" val="4969877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9496" y="1713831"/>
            <a:ext cx="8065008" cy="1543719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Content Placeholder 6"/>
          <p:cNvSpPr>
            <a:spLocks noGrp="1"/>
          </p:cNvSpPr>
          <p:nvPr userDrawn="1">
            <p:ph sz="quarter" idx="15"/>
          </p:nvPr>
        </p:nvSpPr>
        <p:spPr>
          <a:xfrm>
            <a:off x="539496" y="3395834"/>
            <a:ext cx="8065008" cy="1543719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77218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9496" y="1713831"/>
            <a:ext cx="8065008" cy="100555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Content Placeholder 6"/>
          <p:cNvSpPr>
            <a:spLocks noGrp="1"/>
          </p:cNvSpPr>
          <p:nvPr userDrawn="1">
            <p:ph sz="quarter" idx="15"/>
          </p:nvPr>
        </p:nvSpPr>
        <p:spPr>
          <a:xfrm>
            <a:off x="539496" y="2857687"/>
            <a:ext cx="8065008" cy="100555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6"/>
          <p:cNvSpPr>
            <a:spLocks noGrp="1"/>
          </p:cNvSpPr>
          <p:nvPr userDrawn="1">
            <p:ph sz="quarter" idx="16"/>
          </p:nvPr>
        </p:nvSpPr>
        <p:spPr>
          <a:xfrm>
            <a:off x="539496" y="4000114"/>
            <a:ext cx="8065008" cy="100555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88638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9496" y="576072"/>
            <a:ext cx="8065008" cy="208219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6"/>
          <p:cNvSpPr>
            <a:spLocks noGrp="1"/>
          </p:cNvSpPr>
          <p:nvPr>
            <p:ph sz="quarter" idx="14"/>
          </p:nvPr>
        </p:nvSpPr>
        <p:spPr>
          <a:xfrm>
            <a:off x="539496" y="2857356"/>
            <a:ext cx="8065008" cy="2082197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7558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5715000"/>
          </a:xfrm>
        </p:spPr>
        <p:txBody>
          <a:bodyPr anchor="ctr"/>
          <a:lstStyle>
            <a:lvl1pPr marL="3200400" indent="0" algn="l">
              <a:buFont typeface="Arial" panose="020B0604020202020204" pitchFamily="34" charset="0"/>
              <a:buNone/>
              <a:defRPr/>
            </a:lvl1pPr>
          </a:lstStyle>
          <a:p>
            <a:r>
              <a:rPr lang="en-US" dirty="0"/>
              <a:t>Insert a large image here for background – minimum size 1024 * 1000 px</a:t>
            </a: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7"/>
            <p:custDataLst>
              <p:tags r:id="rId1"/>
            </p:custDataLst>
          </p:nvPr>
        </p:nvSpPr>
        <p:spPr>
          <a:xfrm>
            <a:off x="211138" y="5461000"/>
            <a:ext cx="6069012" cy="84138"/>
          </a:xfrm>
        </p:spPr>
        <p:txBody>
          <a:bodyPr rIns="0" anchorCtr="0"/>
          <a:lstStyle>
            <a:lvl1pPr>
              <a:defRPr sz="7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8"/>
            <p:custDataLst>
              <p:tags r:id="rId2"/>
            </p:custDataLst>
          </p:nvPr>
        </p:nvSpPr>
        <p:spPr>
          <a:xfrm>
            <a:off x="8459788" y="5464175"/>
            <a:ext cx="227012" cy="80963"/>
          </a:xfrm>
        </p:spPr>
        <p:txBody>
          <a:bodyPr anchorCtr="0"/>
          <a:lstStyle>
            <a:lvl1pPr>
              <a:defRPr sz="7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BDE1EFA8-517E-F143-8E7A-2A700F90BB9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7"/>
          </p:nvPr>
        </p:nvSpPr>
        <p:spPr>
          <a:xfrm>
            <a:off x="0" y="509588"/>
            <a:ext cx="2893783" cy="2680494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42900" y="824089"/>
            <a:ext cx="2256216" cy="82691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1790700"/>
            <a:ext cx="2256215" cy="1047750"/>
          </a:xfrm>
        </p:spPr>
        <p:txBody>
          <a:bodyPr anchor="t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None/>
              <a:defRPr sz="1100" baseline="0">
                <a:solidFill>
                  <a:schemeClr val="bg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Summarize the coming section here in a short paragraph to give the audiences a sneak preview of the contents. 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070905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9496" y="576072"/>
            <a:ext cx="8065008" cy="134083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6"/>
          <p:cNvSpPr>
            <a:spLocks noGrp="1"/>
          </p:cNvSpPr>
          <p:nvPr>
            <p:ph sz="quarter" idx="14"/>
          </p:nvPr>
        </p:nvSpPr>
        <p:spPr>
          <a:xfrm>
            <a:off x="539496" y="2121946"/>
            <a:ext cx="8065008" cy="134083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Content Placeholder 6"/>
          <p:cNvSpPr>
            <a:spLocks noGrp="1"/>
          </p:cNvSpPr>
          <p:nvPr>
            <p:ph sz="quarter" idx="15"/>
          </p:nvPr>
        </p:nvSpPr>
        <p:spPr>
          <a:xfrm>
            <a:off x="539496" y="3667819"/>
            <a:ext cx="8065008" cy="1340835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19720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6" y="2183606"/>
            <a:ext cx="8065008" cy="2755946"/>
          </a:xfrm>
        </p:spPr>
        <p:txBody>
          <a:bodyPr/>
          <a:lstStyle>
            <a:lvl1pPr>
              <a:spcBef>
                <a:spcPts val="200"/>
              </a:spcBef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Bef>
                <a:spcPts val="200"/>
              </a:spcBef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Bef>
                <a:spcPts val="200"/>
              </a:spcBef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Bef>
                <a:spcPts val="200"/>
              </a:spcBef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Bef>
                <a:spcPts val="200"/>
              </a:spcBef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39496" y="1713831"/>
            <a:ext cx="8065008" cy="335628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-450476" y="4939553"/>
            <a:ext cx="3429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11"/>
          <p:cNvSpPr>
            <a:spLocks noGrp="1"/>
          </p:cNvSpPr>
          <p:nvPr>
            <p:ph type="pic" sz="quarter" idx="80"/>
          </p:nvPr>
        </p:nvSpPr>
        <p:spPr>
          <a:xfrm>
            <a:off x="539496" y="2111961"/>
            <a:ext cx="806500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156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1713831"/>
            <a:ext cx="3701507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567430" y="1713997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902997" y="1713831"/>
            <a:ext cx="3701507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4502562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2119016"/>
            <a:ext cx="3701507" cy="2552191"/>
          </a:xfrm>
        </p:spPr>
        <p:txBody>
          <a:bodyPr/>
          <a:lstStyle>
            <a:lvl1pPr>
              <a:spcAft>
                <a:spcPts val="400"/>
              </a:spcAft>
              <a:defRPr sz="11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105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1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902997" y="2119016"/>
            <a:ext cx="3701507" cy="2552191"/>
          </a:xfrm>
        </p:spPr>
        <p:txBody>
          <a:bodyPr/>
          <a:lstStyle>
            <a:lvl1pPr>
              <a:spcAft>
                <a:spcPts val="400"/>
              </a:spcAft>
              <a:defRPr sz="11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105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1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544070" y="1448841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31776" y="5379242"/>
            <a:ext cx="5822950" cy="82550"/>
          </a:xfrm>
        </p:spPr>
        <p:txBody>
          <a:bodyPr/>
          <a:lstStyle>
            <a:lvl1pPr>
              <a:defRPr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687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6" y="2119016"/>
            <a:ext cx="3701509" cy="2552191"/>
          </a:xfrm>
        </p:spPr>
        <p:txBody>
          <a:bodyPr/>
          <a:lstStyle>
            <a:lvl1pPr marL="0" indent="0">
              <a:spcAft>
                <a:spcPts val="400"/>
              </a:spcAft>
              <a:buNone/>
              <a:defRPr sz="1200" kern="0" spc="0">
                <a:latin typeface="Calibri" panose="020F0502020204030204" pitchFamily="34" charset="0"/>
              </a:defRPr>
            </a:lvl1pPr>
            <a:lvl2pPr marL="223838" indent="-223838">
              <a:spcAft>
                <a:spcPts val="400"/>
              </a:spcAft>
              <a:buFontTx/>
              <a:buBlip>
                <a:blip r:embed="rId2"/>
              </a:buBlip>
              <a:defRPr sz="1050" kern="0" spc="0">
                <a:latin typeface="Calibri" panose="020F0502020204030204" pitchFamily="34" charset="0"/>
              </a:defRPr>
            </a:lvl2pPr>
            <a:lvl3pPr marL="457200" indent="-233363">
              <a:spcAft>
                <a:spcPts val="400"/>
              </a:spcAft>
              <a:buFontTx/>
              <a:buBlip>
                <a:blip r:embed="rId3"/>
              </a:buBlip>
              <a:defRPr sz="1000" kern="0" spc="0">
                <a:latin typeface="Calibri" panose="020F0502020204030204" pitchFamily="34" charset="0"/>
              </a:defRPr>
            </a:lvl3pPr>
            <a:lvl4pPr marL="685800" indent="-223838">
              <a:spcAft>
                <a:spcPts val="400"/>
              </a:spcAft>
              <a:tabLst>
                <a:tab pos="685800" algn="l"/>
              </a:tabLst>
              <a:defRPr sz="9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1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544070" y="1448841"/>
            <a:ext cx="8065008" cy="265176"/>
          </a:xfrm>
        </p:spPr>
        <p:txBody>
          <a:bodyPr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31776" y="5379242"/>
            <a:ext cx="5822950" cy="82550"/>
          </a:xfrm>
        </p:spPr>
        <p:txBody>
          <a:bodyPr/>
          <a:lstStyle>
            <a:lvl1pPr>
              <a:defRPr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4567428" y="2120031"/>
            <a:ext cx="9144" cy="255117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Content Placeholder 7"/>
          <p:cNvSpPr>
            <a:spLocks noGrp="1"/>
          </p:cNvSpPr>
          <p:nvPr>
            <p:ph sz="quarter" idx="25" hasCustomPrompt="1"/>
          </p:nvPr>
        </p:nvSpPr>
        <p:spPr>
          <a:xfrm>
            <a:off x="4907571" y="2119016"/>
            <a:ext cx="3696933" cy="2552191"/>
          </a:xfrm>
        </p:spPr>
        <p:txBody>
          <a:bodyPr/>
          <a:lstStyle>
            <a:lvl1pPr marL="0" indent="0">
              <a:spcAft>
                <a:spcPts val="400"/>
              </a:spcAft>
              <a:buNone/>
              <a:defRPr sz="1200" kern="0" spc="0">
                <a:latin typeface="Calibri" panose="020F0502020204030204" pitchFamily="34" charset="0"/>
              </a:defRPr>
            </a:lvl1pPr>
            <a:lvl2pPr marL="223838" indent="-223838">
              <a:spcAft>
                <a:spcPts val="400"/>
              </a:spcAft>
              <a:buFontTx/>
              <a:buBlip>
                <a:blip r:embed="rId2"/>
              </a:buBlip>
              <a:defRPr sz="1050" kern="0" spc="0">
                <a:latin typeface="Calibri" panose="020F0502020204030204" pitchFamily="34" charset="0"/>
              </a:defRPr>
            </a:lvl2pPr>
            <a:lvl3pPr marL="457200" indent="-233363">
              <a:spcAft>
                <a:spcPts val="400"/>
              </a:spcAft>
              <a:buFontTx/>
              <a:buBlip>
                <a:blip r:embed="rId3"/>
              </a:buBlip>
              <a:defRPr sz="1000" kern="0" spc="0">
                <a:latin typeface="Calibri" panose="020F0502020204030204" pitchFamily="34" charset="0"/>
              </a:defRPr>
            </a:lvl3pPr>
            <a:lvl4pPr marL="685800" indent="-223838">
              <a:spcAft>
                <a:spcPts val="400"/>
              </a:spcAft>
              <a:tabLst>
                <a:tab pos="685800" algn="l"/>
              </a:tabLst>
              <a:defRPr sz="9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1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40372138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6136482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539496" y="1713831"/>
            <a:ext cx="5266515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5966674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3106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6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1713831"/>
            <a:ext cx="5266515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1713831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0966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8" y="1713831"/>
            <a:ext cx="5979755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80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802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6795248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539496" y="1713831"/>
            <a:ext cx="5979755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652677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0078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1713831"/>
            <a:ext cx="3701507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567430" y="1713997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902997" y="1713831"/>
            <a:ext cx="3701507" cy="15461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4902997" y="3393453"/>
            <a:ext cx="3701507" cy="15461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5204117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1381125"/>
            <a:ext cx="4771283" cy="3558428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200"/>
              </a:spcAft>
              <a:buNone/>
              <a:tabLst>
                <a:tab pos="5486400" algn="r"/>
              </a:tabLst>
              <a:defRPr sz="1400" b="1" kern="0" cap="all" spc="0" baseline="0">
                <a:latin typeface="Calibri" panose="020F0502020204030204" pitchFamily="34" charset="0"/>
              </a:defRPr>
            </a:lvl1pPr>
            <a:lvl2pPr marL="11430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tabLst>
                <a:tab pos="5486400" algn="r"/>
              </a:tabLst>
              <a:defRPr sz="1000" kern="0" spc="0">
                <a:latin typeface="Calibri" panose="020F0502020204030204" pitchFamily="34" charset="0"/>
              </a:defRPr>
            </a:lvl2pPr>
            <a:lvl3pPr marL="228600" indent="0">
              <a:lnSpc>
                <a:spcPct val="100000"/>
              </a:lnSpc>
              <a:spcAft>
                <a:spcPts val="200"/>
              </a:spcAft>
              <a:buNone/>
              <a:tabLst>
                <a:tab pos="5486400" algn="r"/>
              </a:tabLst>
              <a:defRPr sz="900" kern="0" spc="0">
                <a:latin typeface="Calibri" panose="020F0502020204030204" pitchFamily="34" charset="0"/>
              </a:defRPr>
            </a:lvl3pPr>
            <a:lvl4pPr marL="342900" indent="0">
              <a:lnSpc>
                <a:spcPct val="100000"/>
              </a:lnSpc>
              <a:spcAft>
                <a:spcPts val="200"/>
              </a:spcAft>
              <a:buNone/>
              <a:tabLst>
                <a:tab pos="5486400" algn="r"/>
              </a:tabLst>
              <a:defRPr sz="8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Section header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5480080" y="1381125"/>
            <a:ext cx="9144" cy="355824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5489223" y="1381125"/>
            <a:ext cx="528927" cy="3558428"/>
          </a:xfrm>
        </p:spPr>
        <p:txBody>
          <a:bodyPr/>
          <a:lstStyle>
            <a:lvl1pPr marL="0" indent="0" algn="r">
              <a:spcBef>
                <a:spcPts val="3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1" kern="0" cap="all" spc="0" baseline="0">
                <a:latin typeface="Calibri" panose="020F0502020204030204" pitchFamily="34" charset="0"/>
              </a:defRPr>
            </a:lvl1pPr>
            <a:lvl2pPr marL="0" indent="0" algn="r">
              <a:spcBef>
                <a:spcPts val="30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>
                <a:latin typeface="Calibri" panose="020F0502020204030204" pitchFamily="34" charset="0"/>
              </a:defRPr>
            </a:lvl2pPr>
            <a:lvl3pPr marL="0" indent="0" algn="r">
              <a:spcBef>
                <a:spcPts val="300"/>
              </a:spcBef>
              <a:spcAft>
                <a:spcPts val="200"/>
              </a:spcAft>
              <a:buNone/>
              <a:defRPr sz="900" kern="0" spc="0">
                <a:latin typeface="Calibri" panose="020F0502020204030204" pitchFamily="34" charset="0"/>
              </a:defRPr>
            </a:lvl3pPr>
            <a:lvl4pPr marL="0" indent="0" algn="r">
              <a:spcBef>
                <a:spcPts val="300"/>
              </a:spcBef>
              <a:spcAft>
                <a:spcPts val="200"/>
              </a:spcAft>
              <a:buNone/>
              <a:defRPr sz="8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Page #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65318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902997" y="1713831"/>
            <a:ext cx="3701507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567430" y="1713997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6" y="1713831"/>
            <a:ext cx="3701507" cy="15461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539496" y="3393453"/>
            <a:ext cx="3701507" cy="15461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2389923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567430" y="1713997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6" y="1713831"/>
            <a:ext cx="3701507" cy="15461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539496" y="3393453"/>
            <a:ext cx="3701507" cy="15461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4902997" y="1713831"/>
            <a:ext cx="3701507" cy="15461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5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4902997" y="3393453"/>
            <a:ext cx="3701507" cy="154610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378379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6795248" y="1713831"/>
            <a:ext cx="1809256" cy="16796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539496" y="1713831"/>
            <a:ext cx="5979755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652677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6795248" y="3254313"/>
            <a:ext cx="1809256" cy="16796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4228553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6" y="1713831"/>
            <a:ext cx="1809256" cy="16796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1713831"/>
            <a:ext cx="5979755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78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39496" y="3254313"/>
            <a:ext cx="1809256" cy="16796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3353458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4319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1713831"/>
            <a:ext cx="5266514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39496" y="3394217"/>
            <a:ext cx="5266514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6136481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5966673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3056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3337990" y="1713831"/>
            <a:ext cx="5266514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539496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168182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3337990" y="3394217"/>
            <a:ext cx="5266514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539496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3168182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5885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8" y="914400"/>
            <a:ext cx="8065005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80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30" y="1708380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6652680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7168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5979756" cy="329326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1713831"/>
            <a:ext cx="1809256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6652680" y="1713998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Content Placeholder 7"/>
          <p:cNvSpPr>
            <a:spLocks noGrp="1"/>
          </p:cNvSpPr>
          <p:nvPr userDrawn="1">
            <p:ph sz="quarter" idx="24" hasCustomPrompt="1"/>
          </p:nvPr>
        </p:nvSpPr>
        <p:spPr>
          <a:xfrm>
            <a:off x="6795249" y="2857687"/>
            <a:ext cx="1809256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2" name="Picture Placeholder 5"/>
          <p:cNvSpPr>
            <a:spLocks noGrp="1"/>
          </p:cNvSpPr>
          <p:nvPr userDrawn="1">
            <p:ph type="pic" sz="quarter" idx="27"/>
          </p:nvPr>
        </p:nvSpPr>
        <p:spPr>
          <a:xfrm>
            <a:off x="6652680" y="2855985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3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6795249" y="4001543"/>
            <a:ext cx="1809256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6" name="Picture Placeholder 5"/>
          <p:cNvSpPr>
            <a:spLocks noGrp="1"/>
          </p:cNvSpPr>
          <p:nvPr>
            <p:ph type="pic" sz="quarter" idx="34"/>
          </p:nvPr>
        </p:nvSpPr>
        <p:spPr>
          <a:xfrm>
            <a:off x="6652680" y="3999841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3417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3337988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6136481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3168181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5966673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994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-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539496" y="576072"/>
            <a:ext cx="8065008" cy="4363481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223838" indent="-223838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461963" indent="-233363">
              <a:buClr>
                <a:schemeClr val="bg1"/>
              </a:buClr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3pPr>
            <a:lvl4pPr marL="688975" indent="-223838">
              <a:buClr>
                <a:schemeClr val="bg1"/>
              </a:buClr>
              <a:buFont typeface="Purista" pitchFamily="2" charset="0"/>
              <a:buChar char="→"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Writing executive summary helps your audiences quickly get the ideas of the whole presentation without having to read it all. This section often (but not a mandatory) contains problem definition, recommended solutions and proven capabilities evidences. Keep it short, simple and to the points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-508000" y="-499269"/>
            <a:ext cx="9112504" cy="5438822"/>
            <a:chOff x="-508000" y="-499269"/>
            <a:chExt cx="9112504" cy="5438822"/>
          </a:xfrm>
        </p:grpSpPr>
        <p:grpSp>
          <p:nvGrpSpPr>
            <p:cNvPr id="26" name="Group 25"/>
            <p:cNvGrpSpPr/>
            <p:nvPr userDrawn="1"/>
          </p:nvGrpSpPr>
          <p:grpSpPr>
            <a:xfrm>
              <a:off x="-508000" y="1583531"/>
              <a:ext cx="431800" cy="3356022"/>
              <a:chOff x="-508000" y="1583531"/>
              <a:chExt cx="431800" cy="3356022"/>
            </a:xfrm>
          </p:grpSpPr>
          <p:cxnSp>
            <p:nvCxnSpPr>
              <p:cNvPr id="32" name="Straight Connector 31"/>
              <p:cNvCxnSpPr/>
              <p:nvPr userDrawn="1"/>
            </p:nvCxnSpPr>
            <p:spPr>
              <a:xfrm>
                <a:off x="-508000" y="1583531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>
              <a:xfrm>
                <a:off x="-508000" y="4939553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" name="Straight Connector 26"/>
            <p:cNvCxnSpPr/>
            <p:nvPr userDrawn="1"/>
          </p:nvCxnSpPr>
          <p:spPr>
            <a:xfrm rot="5400000">
              <a:off x="8388604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rot="5400000">
              <a:off x="323596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rot="5400000">
              <a:off x="4108451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rot="5400000">
              <a:off x="4603752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508000" y="1713831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86734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6136482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539496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5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3337988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539496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3168181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5966675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6988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1713831"/>
            <a:ext cx="2468022" cy="1545503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3337988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6136481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3168181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5966673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539497" y="3394050"/>
            <a:ext cx="2468022" cy="1545503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9720739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38794" y="1720850"/>
            <a:ext cx="3293392" cy="337108"/>
          </a:xfrm>
        </p:spPr>
        <p:txBody>
          <a:bodyPr tIns="45720" anchor="b"/>
          <a:lstStyle>
            <a:lvl1pPr marL="0" indent="0">
              <a:lnSpc>
                <a:spcPct val="95000"/>
              </a:lnSpc>
              <a:spcAft>
                <a:spcPts val="400"/>
              </a:spcAft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39496" y="2175143"/>
            <a:ext cx="3293392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4324350" y="1720850"/>
            <a:ext cx="4279900" cy="3218703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539497" y="2301473"/>
            <a:ext cx="3293392" cy="263808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8552594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311112" y="1720850"/>
            <a:ext cx="3293392" cy="337108"/>
          </a:xfrm>
        </p:spPr>
        <p:txBody>
          <a:bodyPr tIns="45720" anchor="b"/>
          <a:lstStyle>
            <a:lvl1pPr marL="0" indent="0">
              <a:lnSpc>
                <a:spcPct val="95000"/>
              </a:lnSpc>
              <a:spcAft>
                <a:spcPts val="400"/>
              </a:spcAft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311112" y="2175144"/>
            <a:ext cx="3293392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539496" y="1720850"/>
            <a:ext cx="4279900" cy="3218703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5311112" y="2330286"/>
            <a:ext cx="3293392" cy="260926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6055912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38794" y="2298717"/>
            <a:ext cx="3293392" cy="337108"/>
          </a:xfrm>
        </p:spPr>
        <p:txBody>
          <a:bodyPr tIns="45720" anchor="b"/>
          <a:lstStyle>
            <a:lvl1pPr marL="0" indent="0">
              <a:lnSpc>
                <a:spcPct val="95000"/>
              </a:lnSpc>
              <a:spcAft>
                <a:spcPts val="400"/>
              </a:spcAft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39496" y="2722301"/>
            <a:ext cx="3293392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4324350" y="1720850"/>
            <a:ext cx="4279900" cy="3218703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539497" y="2877311"/>
            <a:ext cx="3293392" cy="2062241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8948004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1713831"/>
            <a:ext cx="5266514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5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7998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3337990" y="1713831"/>
            <a:ext cx="5266514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539496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168182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0352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1713831"/>
            <a:ext cx="3701507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567430" y="1713997"/>
            <a:ext cx="9144" cy="154363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902997" y="1713831"/>
            <a:ext cx="3701507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539496" y="3395834"/>
            <a:ext cx="3701507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3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28" y="3395914"/>
            <a:ext cx="9144" cy="154363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4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4902995" y="3395834"/>
            <a:ext cx="3701507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829269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1713831"/>
            <a:ext cx="3701507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567430" y="1713997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902997" y="1713831"/>
            <a:ext cx="3701507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0" name="Content Placeholder 7"/>
          <p:cNvSpPr>
            <a:spLocks noGrp="1"/>
          </p:cNvSpPr>
          <p:nvPr userDrawn="1">
            <p:ph sz="quarter" idx="18" hasCustomPrompt="1"/>
          </p:nvPr>
        </p:nvSpPr>
        <p:spPr>
          <a:xfrm>
            <a:off x="539498" y="2857687"/>
            <a:ext cx="3701507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1" name="Picture Placeholder 5"/>
          <p:cNvSpPr>
            <a:spLocks noGrp="1"/>
          </p:cNvSpPr>
          <p:nvPr userDrawn="1">
            <p:ph type="pic" sz="quarter" idx="19"/>
          </p:nvPr>
        </p:nvSpPr>
        <p:spPr>
          <a:xfrm>
            <a:off x="4567430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Content Placeholder 7"/>
          <p:cNvSpPr>
            <a:spLocks noGrp="1"/>
          </p:cNvSpPr>
          <p:nvPr userDrawn="1">
            <p:ph sz="quarter" idx="20" hasCustomPrompt="1"/>
          </p:nvPr>
        </p:nvSpPr>
        <p:spPr>
          <a:xfrm>
            <a:off x="4902997" y="2857687"/>
            <a:ext cx="3701507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539496" y="4001543"/>
            <a:ext cx="3701507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4" name="Picture Placeholder 5"/>
          <p:cNvSpPr>
            <a:spLocks noGrp="1"/>
          </p:cNvSpPr>
          <p:nvPr userDrawn="1">
            <p:ph type="pic" sz="quarter" idx="22"/>
          </p:nvPr>
        </p:nvSpPr>
        <p:spPr>
          <a:xfrm>
            <a:off x="4567428" y="4001543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5" name="Content Placeholder 7"/>
          <p:cNvSpPr>
            <a:spLocks noGrp="1"/>
          </p:cNvSpPr>
          <p:nvPr userDrawn="1">
            <p:ph sz="quarter" idx="23" hasCustomPrompt="1"/>
          </p:nvPr>
        </p:nvSpPr>
        <p:spPr>
          <a:xfrm>
            <a:off x="4902995" y="4001543"/>
            <a:ext cx="3701507" cy="1005557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41492737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576072"/>
            <a:ext cx="3701507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567430" y="576297"/>
            <a:ext cx="9144" cy="208208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902997" y="576072"/>
            <a:ext cx="3701507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0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539498" y="2857356"/>
            <a:ext cx="3701507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1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30" y="2857464"/>
            <a:ext cx="9144" cy="208208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2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4902997" y="2857356"/>
            <a:ext cx="3701507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9798259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58595B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58595B"/>
                </a:solidFill>
              </a:defRPr>
            </a:lvl1pPr>
          </a:lstStyle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508000" y="-499269"/>
            <a:ext cx="9112504" cy="5438822"/>
            <a:chOff x="-508000" y="-499269"/>
            <a:chExt cx="9112504" cy="5438822"/>
          </a:xfrm>
        </p:grpSpPr>
        <p:grpSp>
          <p:nvGrpSpPr>
            <p:cNvPr id="36" name="Group 35"/>
            <p:cNvGrpSpPr/>
            <p:nvPr userDrawn="1"/>
          </p:nvGrpSpPr>
          <p:grpSpPr>
            <a:xfrm>
              <a:off x="-508000" y="1583531"/>
              <a:ext cx="431800" cy="3356022"/>
              <a:chOff x="-508000" y="1583531"/>
              <a:chExt cx="431800" cy="3356022"/>
            </a:xfrm>
          </p:grpSpPr>
          <p:cxnSp>
            <p:nvCxnSpPr>
              <p:cNvPr id="44" name="Straight Connector 43"/>
              <p:cNvCxnSpPr/>
              <p:nvPr userDrawn="1"/>
            </p:nvCxnSpPr>
            <p:spPr>
              <a:xfrm>
                <a:off x="-508000" y="1583531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508000" y="4939553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Straight Connector 36"/>
            <p:cNvCxnSpPr/>
            <p:nvPr userDrawn="1"/>
          </p:nvCxnSpPr>
          <p:spPr>
            <a:xfrm rot="5400000">
              <a:off x="8388604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323596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213285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21810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508000" y="1713831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240884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657934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630335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49409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9496" y="576072"/>
            <a:ext cx="8065008" cy="43616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Writing executive summary helps your audiences quickly get the ideas of the whole presentation without having to read it all. This section often (but not a mandatory) contains problem definition, recommended solutions and proven capabilities evidences. Keep it short, simple and to the points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8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09256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576072"/>
            <a:ext cx="3701507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567430" y="576297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4902997" y="576072"/>
            <a:ext cx="3701507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7" name="Content Placeholder 7"/>
          <p:cNvSpPr>
            <a:spLocks noGrp="1"/>
          </p:cNvSpPr>
          <p:nvPr userDrawn="1">
            <p:ph sz="quarter" idx="18" hasCustomPrompt="1"/>
          </p:nvPr>
        </p:nvSpPr>
        <p:spPr>
          <a:xfrm>
            <a:off x="539498" y="3667819"/>
            <a:ext cx="3701507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8" name="Picture Placeholder 5"/>
          <p:cNvSpPr>
            <a:spLocks noGrp="1"/>
          </p:cNvSpPr>
          <p:nvPr userDrawn="1">
            <p:ph type="pic" sz="quarter" idx="19"/>
          </p:nvPr>
        </p:nvSpPr>
        <p:spPr>
          <a:xfrm>
            <a:off x="4567430" y="3667889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9" name="Content Placeholder 7"/>
          <p:cNvSpPr>
            <a:spLocks noGrp="1"/>
          </p:cNvSpPr>
          <p:nvPr userDrawn="1">
            <p:ph sz="quarter" idx="20" hasCustomPrompt="1"/>
          </p:nvPr>
        </p:nvSpPr>
        <p:spPr>
          <a:xfrm>
            <a:off x="4902997" y="3667819"/>
            <a:ext cx="3701507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0" name="Content Placeholder 7"/>
          <p:cNvSpPr>
            <a:spLocks noGrp="1"/>
          </p:cNvSpPr>
          <p:nvPr userDrawn="1">
            <p:ph sz="quarter" idx="21" hasCustomPrompt="1"/>
          </p:nvPr>
        </p:nvSpPr>
        <p:spPr>
          <a:xfrm>
            <a:off x="539498" y="2118373"/>
            <a:ext cx="3701507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1" name="Picture Placeholder 5"/>
          <p:cNvSpPr>
            <a:spLocks noGrp="1"/>
          </p:cNvSpPr>
          <p:nvPr userDrawn="1">
            <p:ph type="pic" sz="quarter" idx="22"/>
          </p:nvPr>
        </p:nvSpPr>
        <p:spPr>
          <a:xfrm>
            <a:off x="4567430" y="2118373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62" name="Content Placeholder 7"/>
          <p:cNvSpPr>
            <a:spLocks noGrp="1"/>
          </p:cNvSpPr>
          <p:nvPr userDrawn="1">
            <p:ph sz="quarter" idx="23" hasCustomPrompt="1"/>
          </p:nvPr>
        </p:nvSpPr>
        <p:spPr>
          <a:xfrm>
            <a:off x="4902997" y="2118373"/>
            <a:ext cx="3701507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25152416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6" y="2183606"/>
            <a:ext cx="6418144" cy="2755946"/>
          </a:xfrm>
        </p:spPr>
        <p:txBody>
          <a:bodyPr/>
          <a:lstStyle>
            <a:lvl1pPr>
              <a:spcBef>
                <a:spcPts val="200"/>
              </a:spcBef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Bef>
                <a:spcPts val="200"/>
              </a:spcBef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Bef>
                <a:spcPts val="200"/>
              </a:spcBef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Bef>
                <a:spcPts val="200"/>
              </a:spcBef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Bef>
                <a:spcPts val="200"/>
              </a:spcBef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39496" y="1713832"/>
            <a:ext cx="6418144" cy="335628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0" y="1713831"/>
            <a:ext cx="1477561" cy="3225720"/>
          </a:xfrm>
        </p:spPr>
        <p:txBody>
          <a:bodyPr tIns="91440"/>
          <a:lstStyle>
            <a:lvl1pPr marL="174625" indent="-174625"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700" kern="0" spc="0">
                <a:solidFill>
                  <a:srgbClr val="A7A9AC"/>
                </a:solidFill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600" kern="0" spc="0">
                <a:solidFill>
                  <a:srgbClr val="A7A9AC"/>
                </a:solidFill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500" kern="0" spc="0">
                <a:solidFill>
                  <a:srgbClr val="A7A9AC"/>
                </a:solidFill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042289" y="1713831"/>
            <a:ext cx="0" cy="322572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39496" y="2111961"/>
            <a:ext cx="6419088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7123173" y="1713831"/>
            <a:ext cx="1481328" cy="18288"/>
          </a:xfr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8007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241" y="576239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32521" y="5379409"/>
            <a:ext cx="5822950" cy="8255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90721" y="5379409"/>
            <a:ext cx="220663" cy="8255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40241" y="2254417"/>
            <a:ext cx="3701510" cy="2685302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20000"/>
              </a:lnSpc>
              <a:spcAft>
                <a:spcPts val="6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20000"/>
              </a:lnSpc>
              <a:spcAft>
                <a:spcPts val="6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20000"/>
              </a:lnSpc>
              <a:spcAft>
                <a:spcPts val="6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20000"/>
              </a:lnSpc>
              <a:spcAft>
                <a:spcPts val="6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40241" y="1713998"/>
            <a:ext cx="3701510" cy="337108"/>
          </a:xfrm>
        </p:spPr>
        <p:txBody>
          <a:bodyPr tIns="45720" anchor="b"/>
          <a:lstStyle>
            <a:lvl1pPr marL="0" indent="0">
              <a:lnSpc>
                <a:spcPct val="95000"/>
              </a:lnSpc>
              <a:spcAft>
                <a:spcPts val="400"/>
              </a:spcAft>
              <a:buNone/>
              <a:defRPr sz="1400" b="0" cap="none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40241" y="914567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540241" y="2148190"/>
            <a:ext cx="3702255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4568173" y="1714165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27" hasCustomPrompt="1"/>
          </p:nvPr>
        </p:nvSpPr>
        <p:spPr>
          <a:xfrm>
            <a:off x="4903739" y="2254417"/>
            <a:ext cx="3701510" cy="2685302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20000"/>
              </a:lnSpc>
              <a:spcAft>
                <a:spcPts val="6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20000"/>
              </a:lnSpc>
              <a:spcAft>
                <a:spcPts val="6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20000"/>
              </a:lnSpc>
              <a:spcAft>
                <a:spcPts val="6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20000"/>
              </a:lnSpc>
              <a:spcAft>
                <a:spcPts val="6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8"/>
          </p:nvPr>
        </p:nvSpPr>
        <p:spPr>
          <a:xfrm>
            <a:off x="4903739" y="1713998"/>
            <a:ext cx="3701510" cy="337108"/>
          </a:xfrm>
        </p:spPr>
        <p:txBody>
          <a:bodyPr tIns="45720" anchor="b"/>
          <a:lstStyle>
            <a:lvl1pPr marL="0" indent="0">
              <a:lnSpc>
                <a:spcPct val="95000"/>
              </a:lnSpc>
              <a:spcAft>
                <a:spcPts val="400"/>
              </a:spcAft>
              <a:buNone/>
              <a:defRPr sz="1400" b="0" cap="none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4902994" y="2148190"/>
            <a:ext cx="3702255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8269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6136482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539496" y="1713831"/>
            <a:ext cx="5266515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5966674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7233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1713831"/>
            <a:ext cx="2468022" cy="3225722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9829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1713831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1713998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39496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3337988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6136481" y="3394217"/>
            <a:ext cx="2468022" cy="154533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3168181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7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5966673" y="3394217"/>
            <a:ext cx="9144" cy="154533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1406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1713831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1713831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1713831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1713998"/>
            <a:ext cx="9144" cy="10058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1713998"/>
            <a:ext cx="9144" cy="10058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39497" y="2857404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7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3337989" y="2857404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8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6136482" y="2857404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9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3168182" y="2857404"/>
            <a:ext cx="9144" cy="10058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5966674" y="2857404"/>
            <a:ext cx="9144" cy="10058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1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539496" y="4001260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2" name="Content Placeholder 7"/>
          <p:cNvSpPr>
            <a:spLocks noGrp="1"/>
          </p:cNvSpPr>
          <p:nvPr>
            <p:ph sz="quarter" idx="25" hasCustomPrompt="1"/>
          </p:nvPr>
        </p:nvSpPr>
        <p:spPr>
          <a:xfrm>
            <a:off x="3337988" y="4001260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3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6136481" y="4001260"/>
            <a:ext cx="2468022" cy="100584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4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3168181" y="4001260"/>
            <a:ext cx="9144" cy="10058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966673" y="4001260"/>
            <a:ext cx="9144" cy="10058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3632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576072"/>
            <a:ext cx="2468022" cy="4363481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576072"/>
            <a:ext cx="2468022" cy="4363481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576072"/>
            <a:ext cx="2468022" cy="4363481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576298"/>
            <a:ext cx="9144" cy="43632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576298"/>
            <a:ext cx="9144" cy="43632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6035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576072"/>
            <a:ext cx="2468022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576072"/>
            <a:ext cx="2468022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576072"/>
            <a:ext cx="2468022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576298"/>
            <a:ext cx="9144" cy="208208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576298"/>
            <a:ext cx="9144" cy="208208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5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39497" y="2857356"/>
            <a:ext cx="2468022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6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3337989" y="2857356"/>
            <a:ext cx="2468022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6136482" y="2857356"/>
            <a:ext cx="2468022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8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3168182" y="2857464"/>
            <a:ext cx="9144" cy="208208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9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5966674" y="2857464"/>
            <a:ext cx="9144" cy="2082089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8814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576072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576072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576072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8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68182" y="576299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5966674" y="576299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ntent Placeholder 7"/>
          <p:cNvSpPr>
            <a:spLocks noGrp="1"/>
          </p:cNvSpPr>
          <p:nvPr userDrawn="1">
            <p:ph sz="quarter" idx="19" hasCustomPrompt="1"/>
          </p:nvPr>
        </p:nvSpPr>
        <p:spPr>
          <a:xfrm>
            <a:off x="539497" y="3667819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Content Placeholder 7"/>
          <p:cNvSpPr>
            <a:spLocks noGrp="1"/>
          </p:cNvSpPr>
          <p:nvPr userDrawn="1">
            <p:ph sz="quarter" idx="20" hasCustomPrompt="1"/>
          </p:nvPr>
        </p:nvSpPr>
        <p:spPr>
          <a:xfrm>
            <a:off x="3337989" y="3667819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Content Placeholder 7"/>
          <p:cNvSpPr>
            <a:spLocks noGrp="1"/>
          </p:cNvSpPr>
          <p:nvPr userDrawn="1">
            <p:ph sz="quarter" idx="21" hasCustomPrompt="1"/>
          </p:nvPr>
        </p:nvSpPr>
        <p:spPr>
          <a:xfrm>
            <a:off x="6136482" y="3667819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Picture Placeholder 5"/>
          <p:cNvSpPr>
            <a:spLocks noGrp="1"/>
          </p:cNvSpPr>
          <p:nvPr userDrawn="1">
            <p:ph type="pic" sz="quarter" idx="22"/>
          </p:nvPr>
        </p:nvSpPr>
        <p:spPr>
          <a:xfrm>
            <a:off x="3168182" y="3667888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5"/>
          <p:cNvSpPr>
            <a:spLocks noGrp="1"/>
          </p:cNvSpPr>
          <p:nvPr userDrawn="1">
            <p:ph type="pic" sz="quarter" idx="23"/>
          </p:nvPr>
        </p:nvSpPr>
        <p:spPr>
          <a:xfrm>
            <a:off x="5966674" y="3667888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6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539497" y="2118373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7" name="Content Placeholder 7"/>
          <p:cNvSpPr>
            <a:spLocks noGrp="1"/>
          </p:cNvSpPr>
          <p:nvPr>
            <p:ph sz="quarter" idx="25" hasCustomPrompt="1"/>
          </p:nvPr>
        </p:nvSpPr>
        <p:spPr>
          <a:xfrm>
            <a:off x="3337989" y="2118373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0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6136482" y="2118373"/>
            <a:ext cx="2468022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1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3168182" y="2118373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966674" y="2118373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7101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-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8" y="576072"/>
            <a:ext cx="5979755" cy="4357863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400" kern="0" spc="0">
                <a:solidFill>
                  <a:schemeClr val="bg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-508000" y="-499269"/>
            <a:ext cx="9112504" cy="5438822"/>
            <a:chOff x="-508000" y="-499269"/>
            <a:chExt cx="9112504" cy="5438822"/>
          </a:xfrm>
        </p:grpSpPr>
        <p:grpSp>
          <p:nvGrpSpPr>
            <p:cNvPr id="36" name="Group 35"/>
            <p:cNvGrpSpPr/>
            <p:nvPr userDrawn="1"/>
          </p:nvGrpSpPr>
          <p:grpSpPr>
            <a:xfrm>
              <a:off x="-508000" y="1583531"/>
              <a:ext cx="431800" cy="3356022"/>
              <a:chOff x="-508000" y="1583531"/>
              <a:chExt cx="431800" cy="3356022"/>
            </a:xfrm>
          </p:grpSpPr>
          <p:cxnSp>
            <p:nvCxnSpPr>
              <p:cNvPr id="44" name="Straight Connector 43"/>
              <p:cNvCxnSpPr/>
              <p:nvPr userDrawn="1"/>
            </p:nvCxnSpPr>
            <p:spPr>
              <a:xfrm>
                <a:off x="-508000" y="1583531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508000" y="4939553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Straight Connector 36"/>
            <p:cNvCxnSpPr/>
            <p:nvPr userDrawn="1"/>
          </p:nvCxnSpPr>
          <p:spPr>
            <a:xfrm rot="5400000">
              <a:off x="8388604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323596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213285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21810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508000" y="1713831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240884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657934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630335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49409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539496" y="576071"/>
            <a:ext cx="1809259" cy="2779997"/>
          </a:xfrm>
        </p:spPr>
        <p:txBody>
          <a:bodyPr/>
          <a:lstStyle>
            <a:lvl1pPr algn="r">
              <a:lnSpc>
                <a:spcPct val="85000"/>
              </a:lnSpc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9496" y="3530579"/>
            <a:ext cx="1809259" cy="1403355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Max 230 word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7934325" y="170148"/>
            <a:ext cx="1076325" cy="167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22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73946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2183606"/>
            <a:ext cx="2961421" cy="275594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39497" y="1713831"/>
            <a:ext cx="2961421" cy="337108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0" y="1713831"/>
            <a:ext cx="1477561" cy="3225720"/>
          </a:xfrm>
        </p:spPr>
        <p:txBody>
          <a:bodyPr tIns="91440"/>
          <a:lstStyle>
            <a:lvl1pPr marL="174625" indent="-174625"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700" kern="0" spc="0">
                <a:solidFill>
                  <a:srgbClr val="A7A9AC"/>
                </a:solidFill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600" kern="0" spc="0">
                <a:solidFill>
                  <a:srgbClr val="A7A9AC"/>
                </a:solidFill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500" kern="0" spc="0">
                <a:solidFill>
                  <a:srgbClr val="A7A9AC"/>
                </a:solidFill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042289" y="1713831"/>
            <a:ext cx="0" cy="322572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3996219" y="2183606"/>
            <a:ext cx="2961421" cy="2755946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3996219" y="1713831"/>
            <a:ext cx="2961421" cy="337108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3743997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539497" y="2112701"/>
            <a:ext cx="2962656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7123173" y="1713831"/>
            <a:ext cx="1481328" cy="18288"/>
          </a:xfr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6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3996219" y="2112701"/>
            <a:ext cx="2962656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7713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2961419" cy="3225720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4350" indent="-171450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71450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996219" y="1713831"/>
            <a:ext cx="2961422" cy="3225720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0" y="1713831"/>
            <a:ext cx="1477561" cy="3225720"/>
          </a:xfrm>
        </p:spPr>
        <p:txBody>
          <a:bodyPr tIns="91440"/>
          <a:lstStyle>
            <a:lvl1pPr marL="174625" indent="-174625"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700" kern="0" spc="0">
                <a:solidFill>
                  <a:srgbClr val="A7A9AC"/>
                </a:solidFill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600" kern="0" spc="0">
                <a:solidFill>
                  <a:srgbClr val="A7A9AC"/>
                </a:solidFill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500" kern="0" spc="0">
                <a:solidFill>
                  <a:srgbClr val="A7A9AC"/>
                </a:solidFill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7123173" y="1713831"/>
            <a:ext cx="1481328" cy="18288"/>
          </a:xfr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3743996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7035835" y="1713831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0841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186359" y="1713832"/>
            <a:ext cx="2961422" cy="3225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643086" y="1713832"/>
            <a:ext cx="2961419" cy="3225719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4350" indent="-171450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71450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39498" y="1713832"/>
            <a:ext cx="1477561" cy="3225719"/>
          </a:xfrm>
        </p:spPr>
        <p:txBody>
          <a:bodyPr tIns="91440"/>
          <a:lstStyle>
            <a:lvl1pPr marL="174625" indent="-174625"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700" kern="0" spc="0">
                <a:solidFill>
                  <a:srgbClr val="A7A9AC"/>
                </a:solidFill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600" kern="0" spc="0">
                <a:solidFill>
                  <a:srgbClr val="A7A9AC"/>
                </a:solidFill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500" kern="0" spc="0">
                <a:solidFill>
                  <a:srgbClr val="A7A9AC"/>
                </a:solidFill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539498" y="1713831"/>
            <a:ext cx="1481328" cy="18288"/>
          </a:xfr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5390862" y="1722975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2097137" y="1713832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57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2183933"/>
            <a:ext cx="2468022" cy="275562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337989" y="2183933"/>
            <a:ext cx="2468022" cy="275562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6136482" y="2183933"/>
            <a:ext cx="2468022" cy="2755620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39497" y="1713831"/>
            <a:ext cx="2468022" cy="336424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3337990" y="1713831"/>
            <a:ext cx="2468022" cy="336424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6136482" y="1713831"/>
            <a:ext cx="2468022" cy="336424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4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-450476" y="4939553"/>
            <a:ext cx="342900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539497" y="2112522"/>
            <a:ext cx="2468880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3337561" y="2112522"/>
            <a:ext cx="2468880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6135624" y="2112522"/>
            <a:ext cx="2468880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1901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1713831"/>
            <a:ext cx="1809256" cy="3220104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80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30" y="1708380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6652680" y="1713998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0489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1809256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1713831"/>
            <a:ext cx="1809256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1713831"/>
            <a:ext cx="1809256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6" y="1713831"/>
            <a:ext cx="1809256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80" y="1713999"/>
            <a:ext cx="9144" cy="154633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30" y="1708381"/>
            <a:ext cx="9144" cy="154633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6652680" y="1713999"/>
            <a:ext cx="9144" cy="154633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2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539496" y="3395834"/>
            <a:ext cx="1809256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2624746" y="3395834"/>
            <a:ext cx="1809256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4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709996" y="3395834"/>
            <a:ext cx="1809256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5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6795246" y="3395834"/>
            <a:ext cx="1809256" cy="1543719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2482177" y="3393221"/>
            <a:ext cx="9144" cy="154633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7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4567427" y="3393221"/>
            <a:ext cx="9144" cy="154633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8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6652677" y="3393221"/>
            <a:ext cx="9144" cy="154633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7756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1713831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1713831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1713831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80" y="1713998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30" y="1708380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6652680" y="1713998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ntent Placeholder 7"/>
          <p:cNvSpPr>
            <a:spLocks noGrp="1"/>
          </p:cNvSpPr>
          <p:nvPr userDrawn="1">
            <p:ph sz="quarter" idx="21" hasCustomPrompt="1"/>
          </p:nvPr>
        </p:nvSpPr>
        <p:spPr>
          <a:xfrm>
            <a:off x="539499" y="2857687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7" name="Content Placeholder 7"/>
          <p:cNvSpPr>
            <a:spLocks noGrp="1"/>
          </p:cNvSpPr>
          <p:nvPr userDrawn="1">
            <p:ph sz="quarter" idx="22" hasCustomPrompt="1"/>
          </p:nvPr>
        </p:nvSpPr>
        <p:spPr>
          <a:xfrm>
            <a:off x="2624749" y="2857687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8" name="Content Placeholder 7"/>
          <p:cNvSpPr>
            <a:spLocks noGrp="1"/>
          </p:cNvSpPr>
          <p:nvPr userDrawn="1">
            <p:ph sz="quarter" idx="23" hasCustomPrompt="1"/>
          </p:nvPr>
        </p:nvSpPr>
        <p:spPr>
          <a:xfrm>
            <a:off x="4709999" y="2857687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9" name="Content Placeholder 7"/>
          <p:cNvSpPr>
            <a:spLocks noGrp="1"/>
          </p:cNvSpPr>
          <p:nvPr userDrawn="1">
            <p:ph sz="quarter" idx="24" hasCustomPrompt="1"/>
          </p:nvPr>
        </p:nvSpPr>
        <p:spPr>
          <a:xfrm>
            <a:off x="6795249" y="2857687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0" name="Picture Placeholder 5"/>
          <p:cNvSpPr>
            <a:spLocks noGrp="1"/>
          </p:cNvSpPr>
          <p:nvPr userDrawn="1">
            <p:ph type="pic" sz="quarter" idx="25"/>
          </p:nvPr>
        </p:nvSpPr>
        <p:spPr>
          <a:xfrm>
            <a:off x="2482180" y="2855985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1" name="Picture Placeholder 5"/>
          <p:cNvSpPr>
            <a:spLocks noGrp="1"/>
          </p:cNvSpPr>
          <p:nvPr userDrawn="1">
            <p:ph type="pic" sz="quarter" idx="26"/>
          </p:nvPr>
        </p:nvSpPr>
        <p:spPr>
          <a:xfrm>
            <a:off x="4567430" y="2855985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Picture Placeholder 5"/>
          <p:cNvSpPr>
            <a:spLocks noGrp="1"/>
          </p:cNvSpPr>
          <p:nvPr userDrawn="1">
            <p:ph type="pic" sz="quarter" idx="27"/>
          </p:nvPr>
        </p:nvSpPr>
        <p:spPr>
          <a:xfrm>
            <a:off x="6652680" y="2855985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0" name="Content Placeholder 7"/>
          <p:cNvSpPr>
            <a:spLocks noGrp="1"/>
          </p:cNvSpPr>
          <p:nvPr>
            <p:ph sz="quarter" idx="28" hasCustomPrompt="1"/>
          </p:nvPr>
        </p:nvSpPr>
        <p:spPr>
          <a:xfrm>
            <a:off x="539499" y="4001543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1" name="Content Placeholder 7"/>
          <p:cNvSpPr>
            <a:spLocks noGrp="1"/>
          </p:cNvSpPr>
          <p:nvPr>
            <p:ph sz="quarter" idx="29" hasCustomPrompt="1"/>
          </p:nvPr>
        </p:nvSpPr>
        <p:spPr>
          <a:xfrm>
            <a:off x="2624749" y="4001543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30" hasCustomPrompt="1"/>
          </p:nvPr>
        </p:nvSpPr>
        <p:spPr>
          <a:xfrm>
            <a:off x="4709999" y="4001543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6795249" y="4001543"/>
            <a:ext cx="1809256" cy="100555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4" name="Picture Placeholder 5"/>
          <p:cNvSpPr>
            <a:spLocks noGrp="1"/>
          </p:cNvSpPr>
          <p:nvPr>
            <p:ph type="pic" sz="quarter" idx="32"/>
          </p:nvPr>
        </p:nvSpPr>
        <p:spPr>
          <a:xfrm>
            <a:off x="2482180" y="3999841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5" name="Picture Placeholder 5"/>
          <p:cNvSpPr>
            <a:spLocks noGrp="1"/>
          </p:cNvSpPr>
          <p:nvPr>
            <p:ph type="pic" sz="quarter" idx="33"/>
          </p:nvPr>
        </p:nvSpPr>
        <p:spPr>
          <a:xfrm>
            <a:off x="4567430" y="3999841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6" name="Picture Placeholder 5"/>
          <p:cNvSpPr>
            <a:spLocks noGrp="1"/>
          </p:cNvSpPr>
          <p:nvPr>
            <p:ph type="pic" sz="quarter" idx="34"/>
          </p:nvPr>
        </p:nvSpPr>
        <p:spPr>
          <a:xfrm>
            <a:off x="6652680" y="3999841"/>
            <a:ext cx="9144" cy="1007259"/>
          </a:xfrm>
          <a:solidFill>
            <a:srgbClr val="D1D3D4"/>
          </a:solidFill>
        </p:spPr>
        <p:txBody>
          <a:bodyPr/>
          <a:lstStyle>
            <a:lvl1pPr marL="0" indent="0">
              <a:lnSpc>
                <a:spcPct val="100000"/>
              </a:lnSpc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9738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576072"/>
            <a:ext cx="1809256" cy="4357863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576072"/>
            <a:ext cx="1809256" cy="4357863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576072"/>
            <a:ext cx="1809256" cy="4357863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576072"/>
            <a:ext cx="1809256" cy="4357863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80" y="574314"/>
            <a:ext cx="9144" cy="43652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30" y="568696"/>
            <a:ext cx="9144" cy="43652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6652680" y="574314"/>
            <a:ext cx="9144" cy="43652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8342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576072"/>
            <a:ext cx="1809256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576072"/>
            <a:ext cx="1809256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576072"/>
            <a:ext cx="1809256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576072"/>
            <a:ext cx="1809256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80" y="574314"/>
            <a:ext cx="9144" cy="208572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30" y="568696"/>
            <a:ext cx="9144" cy="208572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6652680" y="574314"/>
            <a:ext cx="9144" cy="208572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9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539499" y="2857356"/>
            <a:ext cx="1809256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0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2624749" y="2857356"/>
            <a:ext cx="1809256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1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709999" y="2857356"/>
            <a:ext cx="1809256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2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6795249" y="2857356"/>
            <a:ext cx="1809256" cy="2082197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3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2482180" y="2853831"/>
            <a:ext cx="9144" cy="208572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4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4567430" y="2853831"/>
            <a:ext cx="9144" cy="208572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5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6652680" y="2853831"/>
            <a:ext cx="9144" cy="2085722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8094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576072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576072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576072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576072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482180" y="574314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567430" y="568696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6652680" y="574314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3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539499" y="2118372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4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2624749" y="2118372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5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709999" y="2118372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8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6795249" y="2118372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9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2482180" y="2116102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0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4567430" y="2116102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1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6652680" y="2116102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2" name="Content Placeholder 7"/>
          <p:cNvSpPr>
            <a:spLocks noGrp="1"/>
          </p:cNvSpPr>
          <p:nvPr>
            <p:ph sz="quarter" idx="28" hasCustomPrompt="1"/>
          </p:nvPr>
        </p:nvSpPr>
        <p:spPr>
          <a:xfrm>
            <a:off x="539499" y="3667819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3" name="Content Placeholder 7"/>
          <p:cNvSpPr>
            <a:spLocks noGrp="1"/>
          </p:cNvSpPr>
          <p:nvPr>
            <p:ph sz="quarter" idx="29" hasCustomPrompt="1"/>
          </p:nvPr>
        </p:nvSpPr>
        <p:spPr>
          <a:xfrm>
            <a:off x="2624749" y="3667819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4" name="Content Placeholder 7"/>
          <p:cNvSpPr>
            <a:spLocks noGrp="1"/>
          </p:cNvSpPr>
          <p:nvPr>
            <p:ph sz="quarter" idx="30" hasCustomPrompt="1"/>
          </p:nvPr>
        </p:nvSpPr>
        <p:spPr>
          <a:xfrm>
            <a:off x="4709999" y="3667819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5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6795249" y="3667819"/>
            <a:ext cx="1809256" cy="1340835"/>
          </a:xfrm>
        </p:spPr>
        <p:txBody>
          <a:bodyPr/>
          <a:lstStyle>
            <a:lvl1pPr>
              <a:spcAft>
                <a:spcPts val="400"/>
              </a:spcAft>
              <a:defRPr sz="1000" kern="0" spc="0"/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6" name="Picture Placeholder 5"/>
          <p:cNvSpPr>
            <a:spLocks noGrp="1"/>
          </p:cNvSpPr>
          <p:nvPr>
            <p:ph type="pic" sz="quarter" idx="32"/>
          </p:nvPr>
        </p:nvSpPr>
        <p:spPr>
          <a:xfrm>
            <a:off x="2482180" y="3665549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7" name="Picture Placeholder 5"/>
          <p:cNvSpPr>
            <a:spLocks noGrp="1"/>
          </p:cNvSpPr>
          <p:nvPr>
            <p:ph type="pic" sz="quarter" idx="33"/>
          </p:nvPr>
        </p:nvSpPr>
        <p:spPr>
          <a:xfrm>
            <a:off x="4567430" y="3665549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8" name="Picture Placeholder 5"/>
          <p:cNvSpPr>
            <a:spLocks noGrp="1"/>
          </p:cNvSpPr>
          <p:nvPr>
            <p:ph type="pic" sz="quarter" idx="34"/>
          </p:nvPr>
        </p:nvSpPr>
        <p:spPr>
          <a:xfrm>
            <a:off x="6652680" y="3665549"/>
            <a:ext cx="9144" cy="13431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064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8" y="576072"/>
            <a:ext cx="5979755" cy="4357863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400" kern="0" spc="0">
                <a:solidFill>
                  <a:srgbClr val="414042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>
              <a:spcAft>
                <a:spcPts val="400"/>
              </a:spcAft>
              <a:defRPr sz="900" kern="0" spc="0"/>
            </a:lvl2pPr>
            <a:lvl3pPr>
              <a:spcAft>
                <a:spcPts val="400"/>
              </a:spcAft>
              <a:defRPr sz="800" kern="0" spc="0"/>
            </a:lvl3pPr>
            <a:lvl4pPr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-508000" y="-499269"/>
            <a:ext cx="9112504" cy="5438822"/>
            <a:chOff x="-508000" y="-499269"/>
            <a:chExt cx="9112504" cy="5438822"/>
          </a:xfrm>
        </p:grpSpPr>
        <p:grpSp>
          <p:nvGrpSpPr>
            <p:cNvPr id="36" name="Group 35"/>
            <p:cNvGrpSpPr/>
            <p:nvPr userDrawn="1"/>
          </p:nvGrpSpPr>
          <p:grpSpPr>
            <a:xfrm>
              <a:off x="-508000" y="1583531"/>
              <a:ext cx="431800" cy="3356022"/>
              <a:chOff x="-508000" y="1583531"/>
              <a:chExt cx="431800" cy="3356022"/>
            </a:xfrm>
          </p:grpSpPr>
          <p:cxnSp>
            <p:nvCxnSpPr>
              <p:cNvPr id="44" name="Straight Connector 43"/>
              <p:cNvCxnSpPr/>
              <p:nvPr userDrawn="1"/>
            </p:nvCxnSpPr>
            <p:spPr>
              <a:xfrm>
                <a:off x="-508000" y="1583531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 userDrawn="1"/>
            </p:nvCxnSpPr>
            <p:spPr>
              <a:xfrm>
                <a:off x="-508000" y="4939553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Straight Connector 36"/>
            <p:cNvCxnSpPr/>
            <p:nvPr userDrawn="1"/>
          </p:nvCxnSpPr>
          <p:spPr>
            <a:xfrm rot="5400000">
              <a:off x="8388604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 rot="5400000">
              <a:off x="323596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rot="5400000">
              <a:off x="213285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rot="5400000">
              <a:off x="421810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508000" y="1713831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rot="5400000">
              <a:off x="240884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rot="5400000">
              <a:off x="657934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rot="5400000">
              <a:off x="6303355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rot="5400000">
              <a:off x="4494099" y="-283369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539496" y="576071"/>
            <a:ext cx="1809259" cy="2779997"/>
          </a:xfrm>
        </p:spPr>
        <p:txBody>
          <a:bodyPr/>
          <a:lstStyle>
            <a:lvl1pPr algn="r">
              <a:lnSpc>
                <a:spcPct val="85000"/>
              </a:lnSpc>
              <a:defRPr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3530579"/>
            <a:ext cx="1809259" cy="1403355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86393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39495" y="1713831"/>
            <a:ext cx="1891761" cy="336424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3"/>
          </p:nvPr>
        </p:nvSpPr>
        <p:spPr>
          <a:xfrm>
            <a:off x="539498" y="2183933"/>
            <a:ext cx="1891759" cy="2750002"/>
          </a:xfrm>
        </p:spPr>
        <p:txBody>
          <a:bodyPr/>
          <a:lstStyle>
            <a:lvl1pPr>
              <a:defRPr sz="900">
                <a:latin typeface="Calibri" panose="020F0502020204030204" pitchFamily="34" charset="0"/>
              </a:defRPr>
            </a:lvl1pPr>
            <a:lvl2pPr>
              <a:defRPr sz="800">
                <a:latin typeface="Calibri" panose="020F0502020204030204" pitchFamily="34" charset="0"/>
              </a:defRPr>
            </a:lvl2pPr>
            <a:lvl3pPr>
              <a:defRPr sz="700">
                <a:latin typeface="Calibri" panose="020F0502020204030204" pitchFamily="34" charset="0"/>
              </a:defRPr>
            </a:lvl3pPr>
            <a:lvl4pPr>
              <a:defRPr sz="600">
                <a:latin typeface="Calibri" panose="020F0502020204030204" pitchFamily="34" charset="0"/>
              </a:defRPr>
            </a:lvl4pPr>
            <a:lvl5pPr>
              <a:defRPr sz="900">
                <a:latin typeface="Calibri" panose="020F0502020204030204" pitchFamily="34" charset="0"/>
              </a:defRPr>
            </a:lvl5pPr>
            <a:lvl6pPr>
              <a:defRPr sz="110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0" y="1713831"/>
            <a:ext cx="1477561" cy="3225720"/>
          </a:xfrm>
        </p:spPr>
        <p:txBody>
          <a:bodyPr tIns="91440"/>
          <a:lstStyle>
            <a:lvl1pPr marL="174625" indent="-174625"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700" kern="0" spc="0">
                <a:solidFill>
                  <a:srgbClr val="A7A9AC"/>
                </a:solidFill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600" kern="0" spc="0">
                <a:solidFill>
                  <a:srgbClr val="A7A9AC"/>
                </a:solidFill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500" kern="0" spc="0">
                <a:solidFill>
                  <a:srgbClr val="A7A9AC"/>
                </a:solidFill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800" kern="0" spc="0">
                <a:solidFill>
                  <a:srgbClr val="A7A9AC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2804383" y="1713831"/>
            <a:ext cx="1893139" cy="336424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Content Placeholder 10"/>
          <p:cNvSpPr>
            <a:spLocks noGrp="1"/>
          </p:cNvSpPr>
          <p:nvPr>
            <p:ph sz="quarter" idx="25"/>
          </p:nvPr>
        </p:nvSpPr>
        <p:spPr>
          <a:xfrm>
            <a:off x="2804384" y="2183933"/>
            <a:ext cx="1893137" cy="2750002"/>
          </a:xfrm>
        </p:spPr>
        <p:txBody>
          <a:bodyPr/>
          <a:lstStyle>
            <a:lvl1pPr>
              <a:defRPr sz="900">
                <a:latin typeface="Calibri" panose="020F0502020204030204" pitchFamily="34" charset="0"/>
              </a:defRPr>
            </a:lvl1pPr>
            <a:lvl2pPr>
              <a:defRPr sz="800">
                <a:latin typeface="Calibri" panose="020F0502020204030204" pitchFamily="34" charset="0"/>
              </a:defRPr>
            </a:lvl2pPr>
            <a:lvl3pPr>
              <a:defRPr sz="700">
                <a:latin typeface="Calibri" panose="020F0502020204030204" pitchFamily="34" charset="0"/>
              </a:defRPr>
            </a:lvl3pPr>
            <a:lvl4pPr>
              <a:defRPr sz="600">
                <a:latin typeface="Calibri" panose="020F0502020204030204" pitchFamily="34" charset="0"/>
              </a:defRPr>
            </a:lvl4pPr>
            <a:lvl5pPr>
              <a:defRPr sz="900">
                <a:latin typeface="Calibri" panose="020F0502020204030204" pitchFamily="34" charset="0"/>
              </a:defRPr>
            </a:lvl5pPr>
            <a:lvl6pPr>
              <a:defRPr sz="110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9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5070645" y="1713831"/>
            <a:ext cx="1886994" cy="336424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Content Placeholder 10"/>
          <p:cNvSpPr>
            <a:spLocks noGrp="1"/>
          </p:cNvSpPr>
          <p:nvPr>
            <p:ph sz="quarter" idx="27"/>
          </p:nvPr>
        </p:nvSpPr>
        <p:spPr>
          <a:xfrm>
            <a:off x="5070645" y="2183933"/>
            <a:ext cx="1886992" cy="2750002"/>
          </a:xfrm>
        </p:spPr>
        <p:txBody>
          <a:bodyPr/>
          <a:lstStyle>
            <a:lvl1pPr>
              <a:defRPr sz="900">
                <a:latin typeface="Calibri" panose="020F0502020204030204" pitchFamily="34" charset="0"/>
              </a:defRPr>
            </a:lvl1pPr>
            <a:lvl2pPr>
              <a:defRPr sz="800">
                <a:latin typeface="Calibri" panose="020F0502020204030204" pitchFamily="34" charset="0"/>
              </a:defRPr>
            </a:lvl2pPr>
            <a:lvl3pPr>
              <a:defRPr sz="700">
                <a:latin typeface="Calibri" panose="020F0502020204030204" pitchFamily="34" charset="0"/>
              </a:defRPr>
            </a:lvl3pPr>
            <a:lvl4pPr>
              <a:defRPr sz="600">
                <a:latin typeface="Calibri" panose="020F0502020204030204" pitchFamily="34" charset="0"/>
              </a:defRPr>
            </a:lvl4pPr>
            <a:lvl5pPr>
              <a:defRPr sz="900">
                <a:latin typeface="Calibri" panose="020F0502020204030204" pitchFamily="34" charset="0"/>
              </a:defRPr>
            </a:lvl5pPr>
            <a:lvl6pPr>
              <a:defRPr sz="110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7123173" y="1713831"/>
            <a:ext cx="1481328" cy="18288"/>
          </a:xfr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5073975" y="2112522"/>
            <a:ext cx="18836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539498" y="2112522"/>
            <a:ext cx="18836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31"/>
          </p:nvPr>
        </p:nvSpPr>
        <p:spPr>
          <a:xfrm>
            <a:off x="2804384" y="2112522"/>
            <a:ext cx="18836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5"/>
          <p:cNvSpPr>
            <a:spLocks noGrp="1"/>
          </p:cNvSpPr>
          <p:nvPr>
            <p:ph type="pic" sz="quarter" idx="32"/>
          </p:nvPr>
        </p:nvSpPr>
        <p:spPr>
          <a:xfrm>
            <a:off x="4870367" y="1713831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605890" y="1713831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5"/>
          <p:cNvSpPr>
            <a:spLocks noGrp="1"/>
          </p:cNvSpPr>
          <p:nvPr>
            <p:ph type="pic" sz="quarter" idx="33"/>
          </p:nvPr>
        </p:nvSpPr>
        <p:spPr>
          <a:xfrm>
            <a:off x="7037716" y="1713831"/>
            <a:ext cx="9144" cy="322555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5982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s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1477561" cy="3225722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4350" indent="-171450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71450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2186360" y="1713831"/>
            <a:ext cx="1477561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833221" y="1713831"/>
            <a:ext cx="1477561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5480082" y="1713831"/>
            <a:ext cx="1477561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0" y="1713831"/>
            <a:ext cx="1477561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1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097138" y="1713830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743999" y="1713830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390860" y="1713830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7037721" y="1713830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102448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s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1477561" cy="1005557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4350" indent="-171450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71450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2186360" y="1713831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833221" y="1713831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5480082" y="1713831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0" y="1713831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1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097138" y="1713830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743999" y="1713830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390860" y="1713830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7037721" y="1713830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539502" y="2857687"/>
            <a:ext cx="1477561" cy="1005557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4350" indent="-171450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71450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4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2186363" y="2857687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5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3833224" y="2857687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6" name="Content Placeholder 7"/>
          <p:cNvSpPr>
            <a:spLocks noGrp="1"/>
          </p:cNvSpPr>
          <p:nvPr>
            <p:ph sz="quarter" idx="25" hasCustomPrompt="1"/>
          </p:nvPr>
        </p:nvSpPr>
        <p:spPr>
          <a:xfrm>
            <a:off x="5480085" y="2857687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7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7126943" y="2857687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8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2097141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3744002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5390863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1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7037724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3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539496" y="4001543"/>
            <a:ext cx="1477561" cy="1005557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4350" indent="-171450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71450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4" name="Content Placeholder 7"/>
          <p:cNvSpPr>
            <a:spLocks noGrp="1"/>
          </p:cNvSpPr>
          <p:nvPr>
            <p:ph sz="quarter" idx="32" hasCustomPrompt="1"/>
          </p:nvPr>
        </p:nvSpPr>
        <p:spPr>
          <a:xfrm>
            <a:off x="2186357" y="4001543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5" name="Content Placeholder 7"/>
          <p:cNvSpPr>
            <a:spLocks noGrp="1"/>
          </p:cNvSpPr>
          <p:nvPr>
            <p:ph sz="quarter" idx="33" hasCustomPrompt="1"/>
          </p:nvPr>
        </p:nvSpPr>
        <p:spPr>
          <a:xfrm>
            <a:off x="3833218" y="4001543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6" name="Content Placeholder 7"/>
          <p:cNvSpPr>
            <a:spLocks noGrp="1"/>
          </p:cNvSpPr>
          <p:nvPr>
            <p:ph sz="quarter" idx="34" hasCustomPrompt="1"/>
          </p:nvPr>
        </p:nvSpPr>
        <p:spPr>
          <a:xfrm>
            <a:off x="5480079" y="4001543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7" name="Content Placeholder 7"/>
          <p:cNvSpPr>
            <a:spLocks noGrp="1"/>
          </p:cNvSpPr>
          <p:nvPr>
            <p:ph sz="quarter" idx="35" hasCustomPrompt="1"/>
          </p:nvPr>
        </p:nvSpPr>
        <p:spPr>
          <a:xfrm>
            <a:off x="7126937" y="4001543"/>
            <a:ext cx="1477561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8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2097135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5"/>
          <p:cNvSpPr>
            <a:spLocks noGrp="1"/>
          </p:cNvSpPr>
          <p:nvPr>
            <p:ph type="pic" sz="quarter" idx="37"/>
          </p:nvPr>
        </p:nvSpPr>
        <p:spPr>
          <a:xfrm>
            <a:off x="3743996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5"/>
          <p:cNvSpPr>
            <a:spLocks noGrp="1"/>
          </p:cNvSpPr>
          <p:nvPr>
            <p:ph type="pic" sz="quarter" idx="38"/>
          </p:nvPr>
        </p:nvSpPr>
        <p:spPr>
          <a:xfrm>
            <a:off x="5390857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7037718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8680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s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576072"/>
            <a:ext cx="1477561" cy="2082197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/>
            </a:lvl1pPr>
            <a:lvl2pPr marL="342900" indent="-171450">
              <a:spcAft>
                <a:spcPts val="400"/>
              </a:spcAft>
              <a:defRPr sz="900" kern="0" spc="0"/>
            </a:lvl2pPr>
            <a:lvl3pPr marL="514350" indent="-171450">
              <a:spcAft>
                <a:spcPts val="400"/>
              </a:spcAft>
              <a:defRPr sz="800" kern="0" spc="0"/>
            </a:lvl3pPr>
            <a:lvl4pPr marL="685800" indent="-171450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2186360" y="576072"/>
            <a:ext cx="1477561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833221" y="576072"/>
            <a:ext cx="1477561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5480082" y="576072"/>
            <a:ext cx="1477561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0" y="576072"/>
            <a:ext cx="1477561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1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097138" y="576131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42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743999" y="576131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4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390860" y="576131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7037721" y="576131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539499" y="2857356"/>
            <a:ext cx="1477561" cy="2082197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/>
            </a:lvl1pPr>
            <a:lvl2pPr marL="342900" indent="-171450">
              <a:spcAft>
                <a:spcPts val="400"/>
              </a:spcAft>
              <a:defRPr sz="900" kern="0" spc="0"/>
            </a:lvl2pPr>
            <a:lvl3pPr marL="514350" indent="-171450">
              <a:spcAft>
                <a:spcPts val="400"/>
              </a:spcAft>
              <a:defRPr sz="800" kern="0" spc="0"/>
            </a:lvl3pPr>
            <a:lvl4pPr marL="685800" indent="-171450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1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2186360" y="2857356"/>
            <a:ext cx="1477561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2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3833221" y="2857356"/>
            <a:ext cx="1477561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3" name="Content Placeholder 7"/>
          <p:cNvSpPr>
            <a:spLocks noGrp="1"/>
          </p:cNvSpPr>
          <p:nvPr>
            <p:ph sz="quarter" idx="25" hasCustomPrompt="1"/>
          </p:nvPr>
        </p:nvSpPr>
        <p:spPr>
          <a:xfrm>
            <a:off x="5480082" y="2857356"/>
            <a:ext cx="1477561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4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7126940" y="2857356"/>
            <a:ext cx="1477561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5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2097138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3743999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7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5390860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8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7037721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1171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s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576072"/>
            <a:ext cx="1477561" cy="1340835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/>
            </a:lvl1pPr>
            <a:lvl2pPr marL="342900" indent="-171450">
              <a:spcAft>
                <a:spcPts val="400"/>
              </a:spcAft>
              <a:defRPr sz="900" kern="0" spc="0"/>
            </a:lvl2pPr>
            <a:lvl3pPr marL="514350" indent="-171450">
              <a:spcAft>
                <a:spcPts val="400"/>
              </a:spcAft>
              <a:defRPr sz="800" kern="0" spc="0"/>
            </a:lvl3pPr>
            <a:lvl4pPr marL="685800" indent="-171450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2186360" y="576072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3833221" y="576072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5480082" y="576072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7126940" y="576072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1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097138" y="576131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42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743999" y="576131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45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390860" y="576131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46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7037721" y="576131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539499" y="2118372"/>
            <a:ext cx="1477561" cy="1340835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/>
            </a:lvl1pPr>
            <a:lvl2pPr marL="342900" indent="-171450">
              <a:spcAft>
                <a:spcPts val="400"/>
              </a:spcAft>
              <a:defRPr sz="900" kern="0" spc="0"/>
            </a:lvl2pPr>
            <a:lvl3pPr marL="514350" indent="-171450">
              <a:spcAft>
                <a:spcPts val="400"/>
              </a:spcAft>
              <a:defRPr sz="800" kern="0" spc="0"/>
            </a:lvl3pPr>
            <a:lvl4pPr marL="685800" indent="-171450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1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2186360" y="2118372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2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3833221" y="2118372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3" name="Content Placeholder 7"/>
          <p:cNvSpPr>
            <a:spLocks noGrp="1"/>
          </p:cNvSpPr>
          <p:nvPr>
            <p:ph sz="quarter" idx="25" hasCustomPrompt="1"/>
          </p:nvPr>
        </p:nvSpPr>
        <p:spPr>
          <a:xfrm>
            <a:off x="5480082" y="2118372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4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7126940" y="2118372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5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2097138" y="2118441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3743999" y="2118441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7" name="Picture Placeholder 5"/>
          <p:cNvSpPr>
            <a:spLocks noGrp="1"/>
          </p:cNvSpPr>
          <p:nvPr>
            <p:ph type="pic" sz="quarter" idx="29"/>
          </p:nvPr>
        </p:nvSpPr>
        <p:spPr>
          <a:xfrm>
            <a:off x="5390860" y="2118441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8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7037721" y="2118441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39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539499" y="3667819"/>
            <a:ext cx="1477561" cy="1340835"/>
          </a:xfrm>
        </p:spPr>
        <p:txBody>
          <a:bodyPr/>
          <a:lstStyle>
            <a:lvl1pPr marL="171450" indent="-171450">
              <a:spcAft>
                <a:spcPts val="400"/>
              </a:spcAft>
              <a:defRPr sz="1000" kern="0" spc="0"/>
            </a:lvl1pPr>
            <a:lvl2pPr marL="342900" indent="-171450">
              <a:spcAft>
                <a:spcPts val="400"/>
              </a:spcAft>
              <a:defRPr sz="900" kern="0" spc="0"/>
            </a:lvl2pPr>
            <a:lvl3pPr marL="514350" indent="-171450">
              <a:spcAft>
                <a:spcPts val="400"/>
              </a:spcAft>
              <a:defRPr sz="800" kern="0" spc="0"/>
            </a:lvl3pPr>
            <a:lvl4pPr marL="685800" indent="-171450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0" name="Content Placeholder 7"/>
          <p:cNvSpPr>
            <a:spLocks noGrp="1"/>
          </p:cNvSpPr>
          <p:nvPr>
            <p:ph sz="quarter" idx="32" hasCustomPrompt="1"/>
          </p:nvPr>
        </p:nvSpPr>
        <p:spPr>
          <a:xfrm>
            <a:off x="2186360" y="3667819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33" hasCustomPrompt="1"/>
          </p:nvPr>
        </p:nvSpPr>
        <p:spPr>
          <a:xfrm>
            <a:off x="3833221" y="3667819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34" hasCustomPrompt="1"/>
          </p:nvPr>
        </p:nvSpPr>
        <p:spPr>
          <a:xfrm>
            <a:off x="5480082" y="3667819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2" name="Content Placeholder 7"/>
          <p:cNvSpPr>
            <a:spLocks noGrp="1"/>
          </p:cNvSpPr>
          <p:nvPr>
            <p:ph sz="quarter" idx="35" hasCustomPrompt="1"/>
          </p:nvPr>
        </p:nvSpPr>
        <p:spPr>
          <a:xfrm>
            <a:off x="7126940" y="3667819"/>
            <a:ext cx="1477561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3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2097138" y="3667888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4" name="Picture Placeholder 5"/>
          <p:cNvSpPr>
            <a:spLocks noGrp="1"/>
          </p:cNvSpPr>
          <p:nvPr>
            <p:ph type="pic" sz="quarter" idx="37"/>
          </p:nvPr>
        </p:nvSpPr>
        <p:spPr>
          <a:xfrm>
            <a:off x="3743999" y="3667888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38"/>
          </p:nvPr>
        </p:nvSpPr>
        <p:spPr>
          <a:xfrm>
            <a:off x="5390860" y="3667888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56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7037721" y="3667888"/>
            <a:ext cx="9144" cy="134076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6975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s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539497" y="1713831"/>
            <a:ext cx="1477563" cy="336026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2186357" y="1713831"/>
            <a:ext cx="1477563" cy="336026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3833219" y="1713831"/>
            <a:ext cx="1477563" cy="336026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7"/>
          </p:nvPr>
        </p:nvSpPr>
        <p:spPr>
          <a:xfrm>
            <a:off x="5480080" y="1713831"/>
            <a:ext cx="1477563" cy="336026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10"/>
          <p:cNvSpPr>
            <a:spLocks noGrp="1"/>
          </p:cNvSpPr>
          <p:nvPr>
            <p:ph type="body" sz="quarter" idx="28"/>
          </p:nvPr>
        </p:nvSpPr>
        <p:spPr>
          <a:xfrm>
            <a:off x="7126942" y="1713831"/>
            <a:ext cx="1477563" cy="336026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Content Placeholder 10"/>
          <p:cNvSpPr>
            <a:spLocks noGrp="1"/>
          </p:cNvSpPr>
          <p:nvPr>
            <p:ph sz="quarter" idx="23"/>
          </p:nvPr>
        </p:nvSpPr>
        <p:spPr>
          <a:xfrm>
            <a:off x="539498" y="2183933"/>
            <a:ext cx="1477560" cy="2750002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39" name="Content Placeholder 10"/>
          <p:cNvSpPr>
            <a:spLocks noGrp="1"/>
          </p:cNvSpPr>
          <p:nvPr>
            <p:ph sz="quarter" idx="29"/>
          </p:nvPr>
        </p:nvSpPr>
        <p:spPr>
          <a:xfrm>
            <a:off x="2186360" y="2183933"/>
            <a:ext cx="1477560" cy="2750002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0" name="Content Placeholder 10"/>
          <p:cNvSpPr>
            <a:spLocks noGrp="1"/>
          </p:cNvSpPr>
          <p:nvPr>
            <p:ph sz="quarter" idx="30"/>
          </p:nvPr>
        </p:nvSpPr>
        <p:spPr>
          <a:xfrm>
            <a:off x="3833221" y="2183933"/>
            <a:ext cx="1477560" cy="2750002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1" name="Content Placeholder 10"/>
          <p:cNvSpPr>
            <a:spLocks noGrp="1"/>
          </p:cNvSpPr>
          <p:nvPr>
            <p:ph sz="quarter" idx="31"/>
          </p:nvPr>
        </p:nvSpPr>
        <p:spPr>
          <a:xfrm>
            <a:off x="5480083" y="2183933"/>
            <a:ext cx="1477560" cy="2750002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2" name="Content Placeholder 10"/>
          <p:cNvSpPr>
            <a:spLocks noGrp="1"/>
          </p:cNvSpPr>
          <p:nvPr>
            <p:ph sz="quarter" idx="32"/>
          </p:nvPr>
        </p:nvSpPr>
        <p:spPr>
          <a:xfrm>
            <a:off x="7126944" y="2183933"/>
            <a:ext cx="1477560" cy="2750002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33"/>
          </p:nvPr>
        </p:nvSpPr>
        <p:spPr>
          <a:xfrm>
            <a:off x="539498" y="2112522"/>
            <a:ext cx="1481328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5"/>
          <p:cNvSpPr>
            <a:spLocks noGrp="1"/>
          </p:cNvSpPr>
          <p:nvPr>
            <p:ph type="pic" sz="quarter" idx="34"/>
          </p:nvPr>
        </p:nvSpPr>
        <p:spPr>
          <a:xfrm>
            <a:off x="2185418" y="2112522"/>
            <a:ext cx="1481328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5"/>
          <p:cNvSpPr>
            <a:spLocks noGrp="1"/>
          </p:cNvSpPr>
          <p:nvPr>
            <p:ph type="pic" sz="quarter" idx="35"/>
          </p:nvPr>
        </p:nvSpPr>
        <p:spPr>
          <a:xfrm>
            <a:off x="3831338" y="2112522"/>
            <a:ext cx="1481328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5477258" y="2112522"/>
            <a:ext cx="1481328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7" name="Picture Placeholder 5"/>
          <p:cNvSpPr>
            <a:spLocks noGrp="1"/>
          </p:cNvSpPr>
          <p:nvPr>
            <p:ph type="pic" sz="quarter" idx="37"/>
          </p:nvPr>
        </p:nvSpPr>
        <p:spPr>
          <a:xfrm>
            <a:off x="7123176" y="2112522"/>
            <a:ext cx="1481328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4295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1713831"/>
            <a:ext cx="1208339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7310094" y="1713998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1910831" y="1713831"/>
            <a:ext cx="1208339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3282164" y="1713831"/>
            <a:ext cx="1208339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4653497" y="1713831"/>
            <a:ext cx="1208339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4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6024830" y="1713831"/>
            <a:ext cx="1208339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5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7396165" y="1713831"/>
            <a:ext cx="1208339" cy="3225722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1824762" y="1713998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3196095" y="1713998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8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4567428" y="1713998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938761" y="1713998"/>
            <a:ext cx="9144" cy="32255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805585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1713831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7310094" y="1713998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1910831" y="1713831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3282164" y="1713831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4653497" y="1713831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4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6024830" y="1713831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5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7396165" y="1713831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1824762" y="1713998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3196095" y="1713998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8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4567428" y="1713998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938761" y="1713998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" name="Content Placeholder 7"/>
          <p:cNvSpPr>
            <a:spLocks noGrp="1"/>
          </p:cNvSpPr>
          <p:nvPr>
            <p:ph sz="quarter" idx="29" hasCustomPrompt="1"/>
          </p:nvPr>
        </p:nvSpPr>
        <p:spPr>
          <a:xfrm>
            <a:off x="539496" y="3395834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2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7310092" y="3395913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3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1910829" y="3395834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4" name="Content Placeholder 7"/>
          <p:cNvSpPr>
            <a:spLocks noGrp="1"/>
          </p:cNvSpPr>
          <p:nvPr>
            <p:ph sz="quarter" idx="32" hasCustomPrompt="1"/>
          </p:nvPr>
        </p:nvSpPr>
        <p:spPr>
          <a:xfrm>
            <a:off x="3282162" y="3395834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5" name="Content Placeholder 7"/>
          <p:cNvSpPr>
            <a:spLocks noGrp="1"/>
          </p:cNvSpPr>
          <p:nvPr>
            <p:ph sz="quarter" idx="33" hasCustomPrompt="1"/>
          </p:nvPr>
        </p:nvSpPr>
        <p:spPr>
          <a:xfrm>
            <a:off x="4653495" y="3395834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6" name="Content Placeholder 7"/>
          <p:cNvSpPr>
            <a:spLocks noGrp="1"/>
          </p:cNvSpPr>
          <p:nvPr>
            <p:ph sz="quarter" idx="34" hasCustomPrompt="1"/>
          </p:nvPr>
        </p:nvSpPr>
        <p:spPr>
          <a:xfrm>
            <a:off x="6024828" y="3395834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7" name="Content Placeholder 7"/>
          <p:cNvSpPr>
            <a:spLocks noGrp="1"/>
          </p:cNvSpPr>
          <p:nvPr>
            <p:ph sz="quarter" idx="35" hasCustomPrompt="1"/>
          </p:nvPr>
        </p:nvSpPr>
        <p:spPr>
          <a:xfrm>
            <a:off x="7396163" y="3395834"/>
            <a:ext cx="1208339" cy="1543719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8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1824760" y="3395913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Picture Placeholder 5"/>
          <p:cNvSpPr>
            <a:spLocks noGrp="1"/>
          </p:cNvSpPr>
          <p:nvPr>
            <p:ph type="pic" sz="quarter" idx="37"/>
          </p:nvPr>
        </p:nvSpPr>
        <p:spPr>
          <a:xfrm>
            <a:off x="3196093" y="3395913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Picture Placeholder 5"/>
          <p:cNvSpPr>
            <a:spLocks noGrp="1"/>
          </p:cNvSpPr>
          <p:nvPr>
            <p:ph type="pic" sz="quarter" idx="38"/>
          </p:nvPr>
        </p:nvSpPr>
        <p:spPr>
          <a:xfrm>
            <a:off x="4567426" y="3395913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1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5938759" y="3395913"/>
            <a:ext cx="9144" cy="154364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38884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1713831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7310094" y="1713998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1910831" y="1713831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3282164" y="1713831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4653497" y="1713831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4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6024830" y="1713831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5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7396165" y="1713831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1824762" y="1713998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3196095" y="1713998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8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4567428" y="1713998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938761" y="1713998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2" name="Content Placeholder 7"/>
          <p:cNvSpPr>
            <a:spLocks noGrp="1"/>
          </p:cNvSpPr>
          <p:nvPr>
            <p:ph sz="quarter" idx="29" hasCustomPrompt="1"/>
          </p:nvPr>
        </p:nvSpPr>
        <p:spPr>
          <a:xfrm>
            <a:off x="539496" y="2857687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3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7310092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4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1910829" y="2857687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5" name="Content Placeholder 7"/>
          <p:cNvSpPr>
            <a:spLocks noGrp="1"/>
          </p:cNvSpPr>
          <p:nvPr>
            <p:ph sz="quarter" idx="32" hasCustomPrompt="1"/>
          </p:nvPr>
        </p:nvSpPr>
        <p:spPr>
          <a:xfrm>
            <a:off x="3282162" y="2857687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6" name="Content Placeholder 7"/>
          <p:cNvSpPr>
            <a:spLocks noGrp="1"/>
          </p:cNvSpPr>
          <p:nvPr>
            <p:ph sz="quarter" idx="33" hasCustomPrompt="1"/>
          </p:nvPr>
        </p:nvSpPr>
        <p:spPr>
          <a:xfrm>
            <a:off x="4653495" y="2857687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7" name="Content Placeholder 7"/>
          <p:cNvSpPr>
            <a:spLocks noGrp="1"/>
          </p:cNvSpPr>
          <p:nvPr>
            <p:ph sz="quarter" idx="34" hasCustomPrompt="1"/>
          </p:nvPr>
        </p:nvSpPr>
        <p:spPr>
          <a:xfrm>
            <a:off x="6024828" y="2857687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8" name="Content Placeholder 7"/>
          <p:cNvSpPr>
            <a:spLocks noGrp="1"/>
          </p:cNvSpPr>
          <p:nvPr>
            <p:ph sz="quarter" idx="35" hasCustomPrompt="1"/>
          </p:nvPr>
        </p:nvSpPr>
        <p:spPr>
          <a:xfrm>
            <a:off x="7396163" y="2857687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9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1824760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Picture Placeholder 5"/>
          <p:cNvSpPr>
            <a:spLocks noGrp="1"/>
          </p:cNvSpPr>
          <p:nvPr>
            <p:ph type="pic" sz="quarter" idx="37"/>
          </p:nvPr>
        </p:nvSpPr>
        <p:spPr>
          <a:xfrm>
            <a:off x="3196093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1" name="Picture Placeholder 5"/>
          <p:cNvSpPr>
            <a:spLocks noGrp="1"/>
          </p:cNvSpPr>
          <p:nvPr>
            <p:ph type="pic" sz="quarter" idx="38"/>
          </p:nvPr>
        </p:nvSpPr>
        <p:spPr>
          <a:xfrm>
            <a:off x="4567426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2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5938759" y="2857739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1" name="Content Placeholder 7"/>
          <p:cNvSpPr>
            <a:spLocks noGrp="1"/>
          </p:cNvSpPr>
          <p:nvPr>
            <p:ph sz="quarter" idx="40" hasCustomPrompt="1"/>
          </p:nvPr>
        </p:nvSpPr>
        <p:spPr>
          <a:xfrm>
            <a:off x="539496" y="4001543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2" name="Picture Placeholder 5"/>
          <p:cNvSpPr>
            <a:spLocks noGrp="1"/>
          </p:cNvSpPr>
          <p:nvPr>
            <p:ph type="pic" sz="quarter" idx="41"/>
          </p:nvPr>
        </p:nvSpPr>
        <p:spPr>
          <a:xfrm>
            <a:off x="7310092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3" name="Content Placeholder 7"/>
          <p:cNvSpPr>
            <a:spLocks noGrp="1"/>
          </p:cNvSpPr>
          <p:nvPr>
            <p:ph sz="quarter" idx="42" hasCustomPrompt="1"/>
          </p:nvPr>
        </p:nvSpPr>
        <p:spPr>
          <a:xfrm>
            <a:off x="1910829" y="4001543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4" name="Content Placeholder 7"/>
          <p:cNvSpPr>
            <a:spLocks noGrp="1"/>
          </p:cNvSpPr>
          <p:nvPr>
            <p:ph sz="quarter" idx="43" hasCustomPrompt="1"/>
          </p:nvPr>
        </p:nvSpPr>
        <p:spPr>
          <a:xfrm>
            <a:off x="3282162" y="4001543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5" name="Content Placeholder 7"/>
          <p:cNvSpPr>
            <a:spLocks noGrp="1"/>
          </p:cNvSpPr>
          <p:nvPr>
            <p:ph sz="quarter" idx="44" hasCustomPrompt="1"/>
          </p:nvPr>
        </p:nvSpPr>
        <p:spPr>
          <a:xfrm>
            <a:off x="4653495" y="4001543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6" name="Content Placeholder 7"/>
          <p:cNvSpPr>
            <a:spLocks noGrp="1"/>
          </p:cNvSpPr>
          <p:nvPr>
            <p:ph sz="quarter" idx="45" hasCustomPrompt="1"/>
          </p:nvPr>
        </p:nvSpPr>
        <p:spPr>
          <a:xfrm>
            <a:off x="6024828" y="4001543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7" name="Content Placeholder 7"/>
          <p:cNvSpPr>
            <a:spLocks noGrp="1"/>
          </p:cNvSpPr>
          <p:nvPr>
            <p:ph sz="quarter" idx="46" hasCustomPrompt="1"/>
          </p:nvPr>
        </p:nvSpPr>
        <p:spPr>
          <a:xfrm>
            <a:off x="7396163" y="4001543"/>
            <a:ext cx="1208339" cy="100555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8" name="Picture Placeholder 5"/>
          <p:cNvSpPr>
            <a:spLocks noGrp="1"/>
          </p:cNvSpPr>
          <p:nvPr>
            <p:ph type="pic" sz="quarter" idx="47"/>
          </p:nvPr>
        </p:nvSpPr>
        <p:spPr>
          <a:xfrm>
            <a:off x="1824760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9" name="Picture Placeholder 5"/>
          <p:cNvSpPr>
            <a:spLocks noGrp="1"/>
          </p:cNvSpPr>
          <p:nvPr>
            <p:ph type="pic" sz="quarter" idx="48"/>
          </p:nvPr>
        </p:nvSpPr>
        <p:spPr>
          <a:xfrm>
            <a:off x="3196093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0" name="Picture Placeholder 5"/>
          <p:cNvSpPr>
            <a:spLocks noGrp="1"/>
          </p:cNvSpPr>
          <p:nvPr>
            <p:ph type="pic" sz="quarter" idx="49"/>
          </p:nvPr>
        </p:nvSpPr>
        <p:spPr>
          <a:xfrm>
            <a:off x="4567426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1" name="Picture Placeholder 5"/>
          <p:cNvSpPr>
            <a:spLocks noGrp="1"/>
          </p:cNvSpPr>
          <p:nvPr>
            <p:ph type="pic" sz="quarter" idx="50"/>
          </p:nvPr>
        </p:nvSpPr>
        <p:spPr>
          <a:xfrm>
            <a:off x="5938759" y="4001595"/>
            <a:ext cx="9144" cy="100550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2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50178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576072"/>
            <a:ext cx="1208339" cy="4363481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7310094" y="576298"/>
            <a:ext cx="9144" cy="43632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1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1910831" y="576072"/>
            <a:ext cx="1208339" cy="4363481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3282164" y="576072"/>
            <a:ext cx="1208339" cy="4363481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4653497" y="576072"/>
            <a:ext cx="1208339" cy="4363481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4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6024830" y="576072"/>
            <a:ext cx="1208339" cy="4363481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5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7396165" y="576072"/>
            <a:ext cx="1208339" cy="4363481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1824762" y="576298"/>
            <a:ext cx="9144" cy="43632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7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3196095" y="576298"/>
            <a:ext cx="9144" cy="43632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8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4567428" y="576298"/>
            <a:ext cx="9144" cy="43632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938761" y="576298"/>
            <a:ext cx="9144" cy="436325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0881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97956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576072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7310094" y="576298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1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1910831" y="576072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3282164" y="576072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4653497" y="576072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4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6024830" y="576072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5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7396165" y="576072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1824762" y="576298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7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3196095" y="576298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8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4567428" y="576298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938761" y="576298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88" name="Content Placeholder 7"/>
          <p:cNvSpPr>
            <a:spLocks noGrp="1"/>
          </p:cNvSpPr>
          <p:nvPr>
            <p:ph sz="quarter" idx="29" hasCustomPrompt="1"/>
          </p:nvPr>
        </p:nvSpPr>
        <p:spPr>
          <a:xfrm>
            <a:off x="539498" y="2857356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89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7310094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90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1910831" y="2857356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1" name="Content Placeholder 7"/>
          <p:cNvSpPr>
            <a:spLocks noGrp="1"/>
          </p:cNvSpPr>
          <p:nvPr>
            <p:ph sz="quarter" idx="32" hasCustomPrompt="1"/>
          </p:nvPr>
        </p:nvSpPr>
        <p:spPr>
          <a:xfrm>
            <a:off x="3282164" y="2857356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2" name="Content Placeholder 7"/>
          <p:cNvSpPr>
            <a:spLocks noGrp="1"/>
          </p:cNvSpPr>
          <p:nvPr>
            <p:ph sz="quarter" idx="33" hasCustomPrompt="1"/>
          </p:nvPr>
        </p:nvSpPr>
        <p:spPr>
          <a:xfrm>
            <a:off x="4653497" y="2857356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3" name="Content Placeholder 7"/>
          <p:cNvSpPr>
            <a:spLocks noGrp="1"/>
          </p:cNvSpPr>
          <p:nvPr>
            <p:ph sz="quarter" idx="34" hasCustomPrompt="1"/>
          </p:nvPr>
        </p:nvSpPr>
        <p:spPr>
          <a:xfrm>
            <a:off x="6024830" y="2857356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4" name="Content Placeholder 7"/>
          <p:cNvSpPr>
            <a:spLocks noGrp="1"/>
          </p:cNvSpPr>
          <p:nvPr>
            <p:ph sz="quarter" idx="35" hasCustomPrompt="1"/>
          </p:nvPr>
        </p:nvSpPr>
        <p:spPr>
          <a:xfrm>
            <a:off x="7396165" y="2857356"/>
            <a:ext cx="1208339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5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1824762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96" name="Picture Placeholder 5"/>
          <p:cNvSpPr>
            <a:spLocks noGrp="1"/>
          </p:cNvSpPr>
          <p:nvPr>
            <p:ph type="pic" sz="quarter" idx="37"/>
          </p:nvPr>
        </p:nvSpPr>
        <p:spPr>
          <a:xfrm>
            <a:off x="3196095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97" name="Picture Placeholder 5"/>
          <p:cNvSpPr>
            <a:spLocks noGrp="1"/>
          </p:cNvSpPr>
          <p:nvPr>
            <p:ph type="pic" sz="quarter" idx="38"/>
          </p:nvPr>
        </p:nvSpPr>
        <p:spPr>
          <a:xfrm>
            <a:off x="4567428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98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5938761" y="2857463"/>
            <a:ext cx="9144" cy="2082090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9715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-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8" y="5760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7310094" y="576131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1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1910831" y="5760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3282164" y="5760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4653497" y="5760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4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6024830" y="5760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5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7396165" y="5760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6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1824762" y="576297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7" name="Picture Placeholder 5"/>
          <p:cNvSpPr>
            <a:spLocks noGrp="1"/>
          </p:cNvSpPr>
          <p:nvPr>
            <p:ph type="pic" sz="quarter" idx="26"/>
          </p:nvPr>
        </p:nvSpPr>
        <p:spPr>
          <a:xfrm>
            <a:off x="3196095" y="576297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8" name="Picture Placeholder 5"/>
          <p:cNvSpPr>
            <a:spLocks noGrp="1"/>
          </p:cNvSpPr>
          <p:nvPr>
            <p:ph type="pic" sz="quarter" idx="27"/>
          </p:nvPr>
        </p:nvSpPr>
        <p:spPr>
          <a:xfrm>
            <a:off x="4567428" y="576297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79" name="Picture Placeholder 5"/>
          <p:cNvSpPr>
            <a:spLocks noGrp="1"/>
          </p:cNvSpPr>
          <p:nvPr>
            <p:ph type="pic" sz="quarter" idx="28"/>
          </p:nvPr>
        </p:nvSpPr>
        <p:spPr>
          <a:xfrm>
            <a:off x="5938761" y="576297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90" name="Content Placeholder 7"/>
          <p:cNvSpPr>
            <a:spLocks noGrp="1"/>
          </p:cNvSpPr>
          <p:nvPr>
            <p:ph sz="quarter" idx="29" hasCustomPrompt="1"/>
          </p:nvPr>
        </p:nvSpPr>
        <p:spPr>
          <a:xfrm>
            <a:off x="539498" y="21183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1" name="Picture Placeholder 5"/>
          <p:cNvSpPr>
            <a:spLocks noGrp="1"/>
          </p:cNvSpPr>
          <p:nvPr>
            <p:ph type="pic" sz="quarter" idx="30"/>
          </p:nvPr>
        </p:nvSpPr>
        <p:spPr>
          <a:xfrm>
            <a:off x="7310094" y="2118442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92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1910831" y="21183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3" name="Content Placeholder 7"/>
          <p:cNvSpPr>
            <a:spLocks noGrp="1"/>
          </p:cNvSpPr>
          <p:nvPr>
            <p:ph sz="quarter" idx="32" hasCustomPrompt="1"/>
          </p:nvPr>
        </p:nvSpPr>
        <p:spPr>
          <a:xfrm>
            <a:off x="3282164" y="21183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4" name="Content Placeholder 7"/>
          <p:cNvSpPr>
            <a:spLocks noGrp="1"/>
          </p:cNvSpPr>
          <p:nvPr>
            <p:ph sz="quarter" idx="33" hasCustomPrompt="1"/>
          </p:nvPr>
        </p:nvSpPr>
        <p:spPr>
          <a:xfrm>
            <a:off x="4653497" y="21183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5" name="Content Placeholder 7"/>
          <p:cNvSpPr>
            <a:spLocks noGrp="1"/>
          </p:cNvSpPr>
          <p:nvPr>
            <p:ph sz="quarter" idx="34" hasCustomPrompt="1"/>
          </p:nvPr>
        </p:nvSpPr>
        <p:spPr>
          <a:xfrm>
            <a:off x="6024830" y="21183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6" name="Content Placeholder 7"/>
          <p:cNvSpPr>
            <a:spLocks noGrp="1"/>
          </p:cNvSpPr>
          <p:nvPr>
            <p:ph sz="quarter" idx="35" hasCustomPrompt="1"/>
          </p:nvPr>
        </p:nvSpPr>
        <p:spPr>
          <a:xfrm>
            <a:off x="7396165" y="2118373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7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1824762" y="2118442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98" name="Picture Placeholder 5"/>
          <p:cNvSpPr>
            <a:spLocks noGrp="1"/>
          </p:cNvSpPr>
          <p:nvPr>
            <p:ph type="pic" sz="quarter" idx="37"/>
          </p:nvPr>
        </p:nvSpPr>
        <p:spPr>
          <a:xfrm>
            <a:off x="3196095" y="2118442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99" name="Picture Placeholder 5"/>
          <p:cNvSpPr>
            <a:spLocks noGrp="1"/>
          </p:cNvSpPr>
          <p:nvPr>
            <p:ph type="pic" sz="quarter" idx="38"/>
          </p:nvPr>
        </p:nvSpPr>
        <p:spPr>
          <a:xfrm>
            <a:off x="4567428" y="2118442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100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5938761" y="2118442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101" name="Content Placeholder 7"/>
          <p:cNvSpPr>
            <a:spLocks noGrp="1"/>
          </p:cNvSpPr>
          <p:nvPr>
            <p:ph sz="quarter" idx="40" hasCustomPrompt="1"/>
          </p:nvPr>
        </p:nvSpPr>
        <p:spPr>
          <a:xfrm>
            <a:off x="539498" y="3667820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2" name="Picture Placeholder 5"/>
          <p:cNvSpPr>
            <a:spLocks noGrp="1"/>
          </p:cNvSpPr>
          <p:nvPr>
            <p:ph type="pic" sz="quarter" idx="41"/>
          </p:nvPr>
        </p:nvSpPr>
        <p:spPr>
          <a:xfrm>
            <a:off x="7310094" y="3667889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103" name="Content Placeholder 7"/>
          <p:cNvSpPr>
            <a:spLocks noGrp="1"/>
          </p:cNvSpPr>
          <p:nvPr>
            <p:ph sz="quarter" idx="42" hasCustomPrompt="1"/>
          </p:nvPr>
        </p:nvSpPr>
        <p:spPr>
          <a:xfrm>
            <a:off x="1910831" y="3667820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4" name="Content Placeholder 7"/>
          <p:cNvSpPr>
            <a:spLocks noGrp="1"/>
          </p:cNvSpPr>
          <p:nvPr>
            <p:ph sz="quarter" idx="43" hasCustomPrompt="1"/>
          </p:nvPr>
        </p:nvSpPr>
        <p:spPr>
          <a:xfrm>
            <a:off x="3282164" y="3667820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5" name="Content Placeholder 7"/>
          <p:cNvSpPr>
            <a:spLocks noGrp="1"/>
          </p:cNvSpPr>
          <p:nvPr>
            <p:ph sz="quarter" idx="44" hasCustomPrompt="1"/>
          </p:nvPr>
        </p:nvSpPr>
        <p:spPr>
          <a:xfrm>
            <a:off x="4653497" y="3667820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6" name="Content Placeholder 7"/>
          <p:cNvSpPr>
            <a:spLocks noGrp="1"/>
          </p:cNvSpPr>
          <p:nvPr>
            <p:ph sz="quarter" idx="45" hasCustomPrompt="1"/>
          </p:nvPr>
        </p:nvSpPr>
        <p:spPr>
          <a:xfrm>
            <a:off x="6024830" y="3667820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7" name="Content Placeholder 7"/>
          <p:cNvSpPr>
            <a:spLocks noGrp="1"/>
          </p:cNvSpPr>
          <p:nvPr>
            <p:ph sz="quarter" idx="46" hasCustomPrompt="1"/>
          </p:nvPr>
        </p:nvSpPr>
        <p:spPr>
          <a:xfrm>
            <a:off x="7396165" y="3667820"/>
            <a:ext cx="1208339" cy="1340834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08" name="Picture Placeholder 5"/>
          <p:cNvSpPr>
            <a:spLocks noGrp="1"/>
          </p:cNvSpPr>
          <p:nvPr>
            <p:ph type="pic" sz="quarter" idx="47"/>
          </p:nvPr>
        </p:nvSpPr>
        <p:spPr>
          <a:xfrm>
            <a:off x="1824762" y="3667889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109" name="Picture Placeholder 5"/>
          <p:cNvSpPr>
            <a:spLocks noGrp="1"/>
          </p:cNvSpPr>
          <p:nvPr>
            <p:ph type="pic" sz="quarter" idx="48"/>
          </p:nvPr>
        </p:nvSpPr>
        <p:spPr>
          <a:xfrm>
            <a:off x="3196095" y="3667889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110" name="Picture Placeholder 5"/>
          <p:cNvSpPr>
            <a:spLocks noGrp="1"/>
          </p:cNvSpPr>
          <p:nvPr>
            <p:ph type="pic" sz="quarter" idx="49"/>
          </p:nvPr>
        </p:nvSpPr>
        <p:spPr>
          <a:xfrm>
            <a:off x="4567428" y="3667889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  <p:sp>
        <p:nvSpPr>
          <p:cNvPr id="111" name="Picture Placeholder 5"/>
          <p:cNvSpPr>
            <a:spLocks noGrp="1"/>
          </p:cNvSpPr>
          <p:nvPr>
            <p:ph type="pic" sz="quarter" idx="50"/>
          </p:nvPr>
        </p:nvSpPr>
        <p:spPr>
          <a:xfrm>
            <a:off x="5938761" y="3667889"/>
            <a:ext cx="9144" cy="1340765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1025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 -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539497" y="1713831"/>
            <a:ext cx="1195571" cy="468910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1913384" y="1713831"/>
            <a:ext cx="1195571" cy="468910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3287271" y="1713831"/>
            <a:ext cx="1195571" cy="468910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Text Placeholder 10"/>
          <p:cNvSpPr>
            <a:spLocks noGrp="1"/>
          </p:cNvSpPr>
          <p:nvPr>
            <p:ph type="body" sz="quarter" idx="27"/>
          </p:nvPr>
        </p:nvSpPr>
        <p:spPr>
          <a:xfrm>
            <a:off x="4661158" y="1713831"/>
            <a:ext cx="1195571" cy="468910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10"/>
          <p:cNvSpPr>
            <a:spLocks noGrp="1"/>
          </p:cNvSpPr>
          <p:nvPr>
            <p:ph type="body" sz="quarter" idx="28"/>
          </p:nvPr>
        </p:nvSpPr>
        <p:spPr>
          <a:xfrm>
            <a:off x="6035045" y="1713831"/>
            <a:ext cx="1195571" cy="468910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29"/>
          </p:nvPr>
        </p:nvSpPr>
        <p:spPr>
          <a:xfrm>
            <a:off x="7408934" y="1713831"/>
            <a:ext cx="1195571" cy="468910"/>
          </a:xfrm>
        </p:spPr>
        <p:txBody>
          <a:bodyPr tIns="4572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cap="none" baseline="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10"/>
          <p:cNvSpPr>
            <a:spLocks noGrp="1"/>
          </p:cNvSpPr>
          <p:nvPr>
            <p:ph sz="quarter" idx="23"/>
          </p:nvPr>
        </p:nvSpPr>
        <p:spPr>
          <a:xfrm>
            <a:off x="539498" y="2316817"/>
            <a:ext cx="1195567" cy="2617118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5" name="Content Placeholder 10"/>
          <p:cNvSpPr>
            <a:spLocks noGrp="1"/>
          </p:cNvSpPr>
          <p:nvPr>
            <p:ph sz="quarter" idx="30"/>
          </p:nvPr>
        </p:nvSpPr>
        <p:spPr>
          <a:xfrm>
            <a:off x="1913386" y="2316817"/>
            <a:ext cx="1195567" cy="2617118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6" name="Content Placeholder 10"/>
          <p:cNvSpPr>
            <a:spLocks noGrp="1"/>
          </p:cNvSpPr>
          <p:nvPr>
            <p:ph sz="quarter" idx="31"/>
          </p:nvPr>
        </p:nvSpPr>
        <p:spPr>
          <a:xfrm>
            <a:off x="3287274" y="2316817"/>
            <a:ext cx="1195567" cy="2617118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7" name="Content Placeholder 10"/>
          <p:cNvSpPr>
            <a:spLocks noGrp="1"/>
          </p:cNvSpPr>
          <p:nvPr>
            <p:ph sz="quarter" idx="32"/>
          </p:nvPr>
        </p:nvSpPr>
        <p:spPr>
          <a:xfrm>
            <a:off x="4661162" y="2316817"/>
            <a:ext cx="1195567" cy="2617118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8" name="Content Placeholder 10"/>
          <p:cNvSpPr>
            <a:spLocks noGrp="1"/>
          </p:cNvSpPr>
          <p:nvPr>
            <p:ph sz="quarter" idx="33"/>
          </p:nvPr>
        </p:nvSpPr>
        <p:spPr>
          <a:xfrm>
            <a:off x="6035050" y="2316817"/>
            <a:ext cx="1195567" cy="2617118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49" name="Content Placeholder 10"/>
          <p:cNvSpPr>
            <a:spLocks noGrp="1"/>
          </p:cNvSpPr>
          <p:nvPr>
            <p:ph sz="quarter" idx="34"/>
          </p:nvPr>
        </p:nvSpPr>
        <p:spPr>
          <a:xfrm>
            <a:off x="7408938" y="2316817"/>
            <a:ext cx="1195567" cy="2617118"/>
          </a:xfrm>
        </p:spPr>
        <p:txBody>
          <a:bodyPr/>
          <a:lstStyle>
            <a:lvl1pPr marL="171450" indent="-171450">
              <a:defRPr sz="800">
                <a:latin typeface="Calibri" panose="020F0502020204030204" pitchFamily="34" charset="0"/>
              </a:defRPr>
            </a:lvl1pPr>
            <a:lvl2pPr marL="342900" indent="-171450">
              <a:defRPr sz="700">
                <a:latin typeface="Calibri" panose="020F0502020204030204" pitchFamily="34" charset="0"/>
              </a:defRPr>
            </a:lvl2pPr>
            <a:lvl3pPr marL="514350" indent="-171450">
              <a:defRPr sz="600">
                <a:latin typeface="Calibri" panose="020F0502020204030204" pitchFamily="34" charset="0"/>
              </a:defRPr>
            </a:lvl3pPr>
            <a:lvl4pPr marL="685800" indent="-171450">
              <a:defRPr sz="500">
                <a:latin typeface="Calibri" panose="020F0502020204030204" pitchFamily="34" charset="0"/>
              </a:defRPr>
            </a:lvl4pPr>
            <a:lvl5pPr>
              <a:defRPr sz="800">
                <a:latin typeface="Calibri" panose="020F0502020204030204" pitchFamily="34" charset="0"/>
              </a:defRPr>
            </a:lvl5pPr>
            <a:lvl6pPr>
              <a:defRPr sz="105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ub-Heading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35"/>
          </p:nvPr>
        </p:nvSpPr>
        <p:spPr>
          <a:xfrm>
            <a:off x="539498" y="2245164"/>
            <a:ext cx="11978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36"/>
          </p:nvPr>
        </p:nvSpPr>
        <p:spPr>
          <a:xfrm>
            <a:off x="1912927" y="2245164"/>
            <a:ext cx="11978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5"/>
          <p:cNvSpPr>
            <a:spLocks noGrp="1"/>
          </p:cNvSpPr>
          <p:nvPr>
            <p:ph type="pic" sz="quarter" idx="37"/>
          </p:nvPr>
        </p:nvSpPr>
        <p:spPr>
          <a:xfrm>
            <a:off x="3286356" y="2245164"/>
            <a:ext cx="11978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0" name="Picture Placeholder 5"/>
          <p:cNvSpPr>
            <a:spLocks noGrp="1"/>
          </p:cNvSpPr>
          <p:nvPr>
            <p:ph type="pic" sz="quarter" idx="38"/>
          </p:nvPr>
        </p:nvSpPr>
        <p:spPr>
          <a:xfrm>
            <a:off x="4659785" y="2245164"/>
            <a:ext cx="11978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1" name="Picture Placeholder 5"/>
          <p:cNvSpPr>
            <a:spLocks noGrp="1"/>
          </p:cNvSpPr>
          <p:nvPr>
            <p:ph type="pic" sz="quarter" idx="39"/>
          </p:nvPr>
        </p:nvSpPr>
        <p:spPr>
          <a:xfrm>
            <a:off x="6033214" y="2245164"/>
            <a:ext cx="11978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Picture Placeholder 5"/>
          <p:cNvSpPr>
            <a:spLocks noGrp="1"/>
          </p:cNvSpPr>
          <p:nvPr>
            <p:ph type="pic" sz="quarter" idx="40"/>
          </p:nvPr>
        </p:nvSpPr>
        <p:spPr>
          <a:xfrm>
            <a:off x="7406641" y="2245207"/>
            <a:ext cx="1197864" cy="9144"/>
          </a:xfrm>
          <a:solidFill>
            <a:srgbClr val="BCBDBF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129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Columns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1713831"/>
            <a:ext cx="1058320" cy="3225306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1707279" y="1713831"/>
            <a:ext cx="1058320" cy="3225306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875059" y="1713831"/>
            <a:ext cx="1058320" cy="3225306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042839" y="1713831"/>
            <a:ext cx="1058320" cy="3225306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210619" y="1713831"/>
            <a:ext cx="1058320" cy="3225306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1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6378399" y="1713831"/>
            <a:ext cx="1058320" cy="3225306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7546184" y="1713831"/>
            <a:ext cx="1058320" cy="3225306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 marL="342900" indent="-168275"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 marL="517525" indent="-174625"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 marL="685800" indent="-168275"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33504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Columns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576072"/>
            <a:ext cx="1058320" cy="436306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1707279" y="576072"/>
            <a:ext cx="1058320" cy="436306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875059" y="576072"/>
            <a:ext cx="1058320" cy="436306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042839" y="576072"/>
            <a:ext cx="1058320" cy="436306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210619" y="576072"/>
            <a:ext cx="1058320" cy="436306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1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6378399" y="576072"/>
            <a:ext cx="1058320" cy="436306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7546184" y="576072"/>
            <a:ext cx="1058320" cy="436306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123080104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Columns -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576072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1707279" y="576072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875059" y="576072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042839" y="576072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210619" y="576072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1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6378399" y="576072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7546184" y="576072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3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539499" y="2857356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4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1707279" y="2857356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5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2875059" y="2857356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6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042839" y="2857356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5210619" y="2857356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8" name="Content Placeholder 7"/>
          <p:cNvSpPr>
            <a:spLocks noGrp="1"/>
          </p:cNvSpPr>
          <p:nvPr>
            <p:ph sz="quarter" idx="25" hasCustomPrompt="1"/>
          </p:nvPr>
        </p:nvSpPr>
        <p:spPr>
          <a:xfrm>
            <a:off x="6378399" y="2857356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7546184" y="2857356"/>
            <a:ext cx="1058320" cy="2082197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410199289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Columns -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9" y="5760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1707279" y="5760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5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875059" y="5760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6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042839" y="5760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9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5210619" y="5760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1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6378399" y="5760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2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7546184" y="5760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7" name="Content Placeholder 7"/>
          <p:cNvSpPr>
            <a:spLocks noGrp="1"/>
          </p:cNvSpPr>
          <p:nvPr>
            <p:ph sz="quarter" idx="20" hasCustomPrompt="1"/>
          </p:nvPr>
        </p:nvSpPr>
        <p:spPr>
          <a:xfrm>
            <a:off x="539499" y="21183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8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1707279" y="21183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39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2875059" y="21183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042839" y="21183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1" name="Content Placeholder 7"/>
          <p:cNvSpPr>
            <a:spLocks noGrp="1"/>
          </p:cNvSpPr>
          <p:nvPr>
            <p:ph sz="quarter" idx="24" hasCustomPrompt="1"/>
          </p:nvPr>
        </p:nvSpPr>
        <p:spPr>
          <a:xfrm>
            <a:off x="5210619" y="21183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2" name="Content Placeholder 7"/>
          <p:cNvSpPr>
            <a:spLocks noGrp="1"/>
          </p:cNvSpPr>
          <p:nvPr>
            <p:ph sz="quarter" idx="25" hasCustomPrompt="1"/>
          </p:nvPr>
        </p:nvSpPr>
        <p:spPr>
          <a:xfrm>
            <a:off x="6378399" y="21183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7546184" y="2118372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7" name="Content Placeholder 7"/>
          <p:cNvSpPr>
            <a:spLocks noGrp="1"/>
          </p:cNvSpPr>
          <p:nvPr>
            <p:ph sz="quarter" idx="27" hasCustomPrompt="1"/>
          </p:nvPr>
        </p:nvSpPr>
        <p:spPr>
          <a:xfrm>
            <a:off x="539499" y="3667819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8" name="Content Placeholder 7"/>
          <p:cNvSpPr>
            <a:spLocks noGrp="1"/>
          </p:cNvSpPr>
          <p:nvPr>
            <p:ph sz="quarter" idx="28" hasCustomPrompt="1"/>
          </p:nvPr>
        </p:nvSpPr>
        <p:spPr>
          <a:xfrm>
            <a:off x="1707279" y="3667819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49" name="Content Placeholder 7"/>
          <p:cNvSpPr>
            <a:spLocks noGrp="1"/>
          </p:cNvSpPr>
          <p:nvPr>
            <p:ph sz="quarter" idx="29" hasCustomPrompt="1"/>
          </p:nvPr>
        </p:nvSpPr>
        <p:spPr>
          <a:xfrm>
            <a:off x="2875059" y="3667819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0" name="Content Placeholder 7"/>
          <p:cNvSpPr>
            <a:spLocks noGrp="1"/>
          </p:cNvSpPr>
          <p:nvPr>
            <p:ph sz="quarter" idx="30" hasCustomPrompt="1"/>
          </p:nvPr>
        </p:nvSpPr>
        <p:spPr>
          <a:xfrm>
            <a:off x="4042839" y="3667819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1" name="Content Placeholder 7"/>
          <p:cNvSpPr>
            <a:spLocks noGrp="1"/>
          </p:cNvSpPr>
          <p:nvPr>
            <p:ph sz="quarter" idx="31" hasCustomPrompt="1"/>
          </p:nvPr>
        </p:nvSpPr>
        <p:spPr>
          <a:xfrm>
            <a:off x="5210619" y="3667819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2" name="Content Placeholder 7"/>
          <p:cNvSpPr>
            <a:spLocks noGrp="1"/>
          </p:cNvSpPr>
          <p:nvPr>
            <p:ph sz="quarter" idx="32" hasCustomPrompt="1"/>
          </p:nvPr>
        </p:nvSpPr>
        <p:spPr>
          <a:xfrm>
            <a:off x="6378399" y="3667819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53" name="Content Placeholder 7"/>
          <p:cNvSpPr>
            <a:spLocks noGrp="1"/>
          </p:cNvSpPr>
          <p:nvPr>
            <p:ph sz="quarter" idx="33" hasCustomPrompt="1"/>
          </p:nvPr>
        </p:nvSpPr>
        <p:spPr>
          <a:xfrm>
            <a:off x="7546184" y="3667819"/>
            <a:ext cx="1058320" cy="1340835"/>
          </a:xfrm>
        </p:spPr>
        <p:txBody>
          <a:bodyPr/>
          <a:lstStyle>
            <a:lvl1pPr marL="174625" indent="-174625">
              <a:spcAft>
                <a:spcPts val="400"/>
              </a:spcAft>
              <a:defRPr sz="1000" kern="0" spc="0"/>
            </a:lvl1pPr>
            <a:lvl2pPr marL="342900" indent="-168275">
              <a:spcAft>
                <a:spcPts val="400"/>
              </a:spcAft>
              <a:defRPr sz="900" kern="0" spc="0"/>
            </a:lvl2pPr>
            <a:lvl3pPr marL="517525" indent="-174625">
              <a:spcAft>
                <a:spcPts val="400"/>
              </a:spcAft>
              <a:defRPr sz="800" kern="0" spc="0"/>
            </a:lvl3pPr>
            <a:lvl4pPr marL="685800" indent="-168275">
              <a:spcAft>
                <a:spcPts val="400"/>
              </a:spcAft>
              <a:defRPr sz="700" kern="0" spc="0"/>
            </a:lvl4pPr>
            <a:lvl5pPr>
              <a:spcAft>
                <a:spcPts val="400"/>
              </a:spcAft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</p:spTree>
    <p:extLst>
      <p:ext uri="{BB962C8B-B14F-4D97-AF65-F5344CB8AC3E}">
        <p14:creationId xmlns:p14="http://schemas.microsoft.com/office/powerpoint/2010/main" val="39310295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675367" y="841350"/>
            <a:ext cx="5923215" cy="264820"/>
          </a:xfrm>
        </p:spPr>
        <p:txBody>
          <a:bodyPr/>
          <a:lstStyle>
            <a:lvl1pPr>
              <a:defRPr sz="1800" b="1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onsultant name</a:t>
            </a:r>
          </a:p>
        </p:txBody>
      </p:sp>
      <p:sp>
        <p:nvSpPr>
          <p:cNvPr id="4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81288" y="423862"/>
            <a:ext cx="5923215" cy="214313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Your specialty tagline</a:t>
            </a:r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-508000" y="1583531"/>
            <a:ext cx="431800" cy="3356022"/>
            <a:chOff x="-508000" y="1583531"/>
            <a:chExt cx="431800" cy="3356022"/>
          </a:xfrm>
        </p:grpSpPr>
        <p:grpSp>
          <p:nvGrpSpPr>
            <p:cNvPr id="47" name="Group 46"/>
            <p:cNvGrpSpPr/>
            <p:nvPr userDrawn="1"/>
          </p:nvGrpSpPr>
          <p:grpSpPr>
            <a:xfrm>
              <a:off x="-508000" y="1583531"/>
              <a:ext cx="431800" cy="3356022"/>
              <a:chOff x="-508000" y="1583531"/>
              <a:chExt cx="431800" cy="3356022"/>
            </a:xfrm>
          </p:grpSpPr>
          <p:cxnSp>
            <p:nvCxnSpPr>
              <p:cNvPr id="51" name="Straight Connector 50"/>
              <p:cNvCxnSpPr/>
              <p:nvPr userDrawn="1"/>
            </p:nvCxnSpPr>
            <p:spPr>
              <a:xfrm>
                <a:off x="-508000" y="1583531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 userDrawn="1"/>
            </p:nvCxnSpPr>
            <p:spPr>
              <a:xfrm>
                <a:off x="-508000" y="4939553"/>
                <a:ext cx="431800" cy="0"/>
              </a:xfrm>
              <a:prstGeom prst="line">
                <a:avLst/>
              </a:prstGeom>
              <a:ln w="3175">
                <a:solidFill>
                  <a:schemeClr val="bg1">
                    <a:lumMod val="50000"/>
                  </a:schemeClr>
                </a:solidFill>
                <a:prstDash val="sysDot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8" name="Straight Connector 47"/>
            <p:cNvCxnSpPr/>
            <p:nvPr userDrawn="1"/>
          </p:nvCxnSpPr>
          <p:spPr>
            <a:xfrm>
              <a:off x="-508000" y="1713831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508000" y="3257550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-508000" y="3395834"/>
              <a:ext cx="431800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  <a:prstDash val="sysDot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Picture Placeholder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9499" y="412751"/>
            <a:ext cx="1910921" cy="901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32" name="Picture Placeholder 3"/>
          <p:cNvSpPr>
            <a:spLocks noGrp="1"/>
          </p:cNvSpPr>
          <p:nvPr>
            <p:ph type="pic" sz="quarter" idx="82" hasCustomPrompt="1"/>
          </p:nvPr>
        </p:nvSpPr>
        <p:spPr>
          <a:xfrm>
            <a:off x="539499" y="414338"/>
            <a:ext cx="1905002" cy="900112"/>
          </a:xfrm>
        </p:spPr>
        <p:txBody>
          <a:bodyPr anchor="ctr"/>
          <a:lstStyle>
            <a:lvl1pPr marL="0" indent="0" algn="ctr">
              <a:buFontTx/>
              <a:buNone/>
              <a:defRPr sz="7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Get your photo at Epinion VN website:</a:t>
            </a:r>
            <a:br>
              <a:rPr lang="en-US" dirty="0"/>
            </a:br>
            <a:r>
              <a:rPr lang="en-US" dirty="0"/>
              <a:t>http://www.epinion.vn/SitePages/About-Epinion/Our-Team.aspx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90" hasCustomPrompt="1"/>
          </p:nvPr>
        </p:nvSpPr>
        <p:spPr>
          <a:xfrm>
            <a:off x="539499" y="1784348"/>
            <a:ext cx="1975104" cy="1813719"/>
          </a:xfrm>
          <a:noFill/>
        </p:spPr>
        <p:txBody>
          <a:bodyPr/>
          <a:lstStyle>
            <a:lvl1pPr marL="0" indent="0">
              <a:lnSpc>
                <a:spcPct val="120000"/>
              </a:lnSpc>
              <a:spcAft>
                <a:spcPts val="200"/>
              </a:spcAft>
              <a:buNone/>
              <a:defRPr sz="700" baseline="0">
                <a:latin typeface="Calibri" panose="020F0502020204030204" pitchFamily="34" charset="0"/>
              </a:defRPr>
            </a:lvl1pPr>
            <a:lvl2pPr marL="171450" indent="-166688">
              <a:lnSpc>
                <a:spcPct val="120000"/>
              </a:lnSpc>
              <a:spcAft>
                <a:spcPts val="200"/>
              </a:spcAft>
              <a:buFontTx/>
              <a:buBlip>
                <a:blip r:embed="rId3"/>
              </a:buBlip>
              <a:defRPr sz="700"/>
            </a:lvl2pPr>
            <a:lvl3pPr marL="342900" indent="-171450">
              <a:lnSpc>
                <a:spcPct val="120000"/>
              </a:lnSpc>
              <a:spcAft>
                <a:spcPts val="200"/>
              </a:spcAft>
              <a:buFontTx/>
              <a:buBlip>
                <a:blip r:embed="rId4"/>
              </a:buBlip>
              <a:defRPr sz="600"/>
            </a:lvl3pPr>
            <a:lvl4pPr marL="514350" indent="-171450">
              <a:lnSpc>
                <a:spcPct val="120000"/>
              </a:lnSpc>
              <a:spcAft>
                <a:spcPts val="200"/>
              </a:spcAft>
              <a:buFont typeface="Purista" pitchFamily="2" charset="0"/>
              <a:buChar char="→"/>
              <a:defRPr sz="500"/>
            </a:lvl4pPr>
            <a:lvl5pPr>
              <a:lnSpc>
                <a:spcPct val="120000"/>
              </a:lnSpc>
              <a:spcAft>
                <a:spcPts val="200"/>
              </a:spcAft>
              <a:defRPr sz="800"/>
            </a:lvl5pPr>
          </a:lstStyle>
          <a:p>
            <a:pPr lvl="0"/>
            <a:r>
              <a:rPr lang="en-US" dirty="0"/>
              <a:t>Describe yourself in short texts within 50 word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39499" y="1514471"/>
            <a:ext cx="1126332" cy="175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alibri" panose="020F0502020204030204" pitchFamily="34" charset="0"/>
                <a:cs typeface="Myriad Pro Light"/>
              </a:rPr>
              <a:t>PROFILE</a:t>
            </a:r>
          </a:p>
        </p:txBody>
      </p:sp>
      <p:sp>
        <p:nvSpPr>
          <p:cNvPr id="58" name="TextBox 57"/>
          <p:cNvSpPr txBox="1"/>
          <p:nvPr userDrawn="1"/>
        </p:nvSpPr>
        <p:spPr>
          <a:xfrm>
            <a:off x="2681289" y="1514471"/>
            <a:ext cx="1126332" cy="175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alibri" panose="020F0502020204030204" pitchFamily="34" charset="0"/>
                <a:cs typeface="Myriad Pro Light"/>
              </a:rPr>
              <a:t>EDUCATION</a:t>
            </a:r>
          </a:p>
        </p:txBody>
      </p:sp>
      <p:sp>
        <p:nvSpPr>
          <p:cNvPr id="59" name="TextBox 58"/>
          <p:cNvSpPr txBox="1"/>
          <p:nvPr userDrawn="1"/>
        </p:nvSpPr>
        <p:spPr>
          <a:xfrm>
            <a:off x="539499" y="3668312"/>
            <a:ext cx="1126332" cy="175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alibri" panose="020F0502020204030204" pitchFamily="34" charset="0"/>
                <a:cs typeface="Myriad Pro Light"/>
              </a:rPr>
              <a:t>SPECIALTIES</a:t>
            </a:r>
          </a:p>
        </p:txBody>
      </p:sp>
      <p:sp>
        <p:nvSpPr>
          <p:cNvPr id="60" name="TextBox 59"/>
          <p:cNvSpPr txBox="1"/>
          <p:nvPr userDrawn="1"/>
        </p:nvSpPr>
        <p:spPr>
          <a:xfrm>
            <a:off x="2681289" y="3668312"/>
            <a:ext cx="1126332" cy="175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alibri" panose="020F0502020204030204" pitchFamily="34" charset="0"/>
                <a:cs typeface="Myriad Pro Light"/>
              </a:rPr>
              <a:t>WORK EXPERIENCE</a:t>
            </a:r>
          </a:p>
        </p:txBody>
      </p:sp>
      <p:sp>
        <p:nvSpPr>
          <p:cNvPr id="61" name="Picture Placeholder 5"/>
          <p:cNvSpPr>
            <a:spLocks noGrp="1"/>
          </p:cNvSpPr>
          <p:nvPr>
            <p:ph type="pic" sz="quarter" idx="18"/>
          </p:nvPr>
        </p:nvSpPr>
        <p:spPr>
          <a:xfrm rot="5400000">
            <a:off x="1522479" y="726278"/>
            <a:ext cx="9144" cy="1975104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" name="Picture Placeholder 5"/>
          <p:cNvSpPr>
            <a:spLocks noGrp="1"/>
          </p:cNvSpPr>
          <p:nvPr>
            <p:ph type="pic" sz="quarter" idx="93"/>
          </p:nvPr>
        </p:nvSpPr>
        <p:spPr>
          <a:xfrm rot="5400000">
            <a:off x="3664269" y="726278"/>
            <a:ext cx="9144" cy="1975104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4" name="Picture Placeholder 5"/>
          <p:cNvSpPr>
            <a:spLocks noGrp="1"/>
          </p:cNvSpPr>
          <p:nvPr>
            <p:ph type="pic" sz="quarter" idx="96"/>
          </p:nvPr>
        </p:nvSpPr>
        <p:spPr>
          <a:xfrm rot="5400000">
            <a:off x="1522479" y="2879907"/>
            <a:ext cx="9144" cy="1975104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5" name="Picture Placeholder 5"/>
          <p:cNvSpPr>
            <a:spLocks noGrp="1"/>
          </p:cNvSpPr>
          <p:nvPr>
            <p:ph type="pic" sz="quarter" idx="97"/>
          </p:nvPr>
        </p:nvSpPr>
        <p:spPr>
          <a:xfrm rot="5400000">
            <a:off x="3664269" y="2879907"/>
            <a:ext cx="9144" cy="1975104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6" name="TextBox 75"/>
          <p:cNvSpPr txBox="1"/>
          <p:nvPr userDrawn="1"/>
        </p:nvSpPr>
        <p:spPr>
          <a:xfrm>
            <a:off x="4822032" y="1514471"/>
            <a:ext cx="1126332" cy="1754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1000" dirty="0">
                <a:latin typeface="Calibri" panose="020F0502020204030204" pitchFamily="34" charset="0"/>
                <a:cs typeface="Myriad Pro Light"/>
              </a:rPr>
              <a:t>MAJOR</a:t>
            </a:r>
            <a:r>
              <a:rPr lang="en-US" sz="1000" baseline="0" dirty="0">
                <a:latin typeface="Calibri" panose="020F0502020204030204" pitchFamily="34" charset="0"/>
                <a:cs typeface="Myriad Pro Light"/>
              </a:rPr>
              <a:t> PROJECT</a:t>
            </a:r>
            <a:endParaRPr lang="en-US" sz="1000" dirty="0">
              <a:latin typeface="Calibri" panose="020F0502020204030204" pitchFamily="34" charset="0"/>
              <a:cs typeface="Myriad Pro Light"/>
            </a:endParaRPr>
          </a:p>
        </p:txBody>
      </p:sp>
      <p:sp>
        <p:nvSpPr>
          <p:cNvPr id="77" name="Picture Placeholder 5"/>
          <p:cNvSpPr>
            <a:spLocks noGrp="1"/>
          </p:cNvSpPr>
          <p:nvPr>
            <p:ph type="pic" sz="quarter" idx="98"/>
          </p:nvPr>
        </p:nvSpPr>
        <p:spPr>
          <a:xfrm rot="5400000">
            <a:off x="6707124" y="-178978"/>
            <a:ext cx="9144" cy="3785616"/>
          </a:xfrm>
          <a:solidFill>
            <a:srgbClr val="D1D3D4"/>
          </a:solidFill>
        </p:spPr>
        <p:txBody>
          <a:bodyPr/>
          <a:lstStyle>
            <a:lvl1pPr marL="0" indent="0"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3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539499" y="3930014"/>
            <a:ext cx="1975104" cy="1280160"/>
          </a:xfrm>
          <a:noFill/>
        </p:spPr>
        <p:txBody>
          <a:bodyPr/>
          <a:lstStyle>
            <a:lvl1pPr marL="171450" indent="-171450">
              <a:lnSpc>
                <a:spcPct val="120000"/>
              </a:lnSpc>
              <a:spcAft>
                <a:spcPts val="200"/>
              </a:spcAft>
              <a:defRPr sz="700" kern="0" spc="0" baseline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700" kern="0" spc="0"/>
            </a:lvl2pPr>
            <a:lvl3pPr marL="514350" indent="-171450">
              <a:spcAft>
                <a:spcPts val="400"/>
              </a:spcAft>
              <a:defRPr sz="600" kern="0" spc="0"/>
            </a:lvl3pPr>
            <a:lvl4pPr marL="685800" indent="-171450">
              <a:spcAft>
                <a:spcPts val="400"/>
              </a:spcAft>
              <a:defRPr sz="500" kern="0" spc="0"/>
            </a:lvl4pPr>
            <a:lvl5pPr>
              <a:spcAft>
                <a:spcPts val="400"/>
              </a:spcAft>
              <a:defRPr sz="800" kern="0" spc="0"/>
            </a:lvl5pPr>
          </a:lstStyle>
          <a:p>
            <a:r>
              <a:rPr lang="en-US" dirty="0"/>
              <a:t>Your skill (Research, Consumer Behavior, Data </a:t>
            </a:r>
            <a:r>
              <a:rPr lang="en-US" dirty="0" err="1"/>
              <a:t>Analyais</a:t>
            </a:r>
            <a:r>
              <a:rPr lang="en-US" dirty="0"/>
              <a:t>, etc…)</a:t>
            </a:r>
          </a:p>
        </p:txBody>
      </p:sp>
      <p:sp>
        <p:nvSpPr>
          <p:cNvPr id="84" name="Content Placeholder 7"/>
          <p:cNvSpPr>
            <a:spLocks noGrp="1"/>
          </p:cNvSpPr>
          <p:nvPr>
            <p:ph sz="quarter" idx="103" hasCustomPrompt="1"/>
          </p:nvPr>
        </p:nvSpPr>
        <p:spPr>
          <a:xfrm>
            <a:off x="2681289" y="3930014"/>
            <a:ext cx="1975104" cy="1280160"/>
          </a:xfrm>
          <a:noFill/>
        </p:spPr>
        <p:txBody>
          <a:bodyPr/>
          <a:lstStyle>
            <a:lvl1pPr marL="171450" indent="-171450">
              <a:lnSpc>
                <a:spcPct val="120000"/>
              </a:lnSpc>
              <a:spcAft>
                <a:spcPts val="200"/>
              </a:spcAft>
              <a:defRPr sz="700" kern="0" spc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700" kern="0" spc="0"/>
            </a:lvl2pPr>
            <a:lvl3pPr marL="514350" indent="-171450">
              <a:spcAft>
                <a:spcPts val="400"/>
              </a:spcAft>
              <a:defRPr sz="600" kern="0" spc="0"/>
            </a:lvl3pPr>
            <a:lvl4pPr marL="685800" indent="-171450">
              <a:spcAft>
                <a:spcPts val="400"/>
              </a:spcAft>
              <a:defRPr sz="500" kern="0" spc="0"/>
            </a:lvl4pPr>
            <a:lvl5pPr>
              <a:spcAft>
                <a:spcPts val="400"/>
              </a:spcAft>
              <a:defRPr sz="800" kern="0" spc="0"/>
            </a:lvl5pPr>
          </a:lstStyle>
          <a:p>
            <a:pPr lvl="0"/>
            <a:r>
              <a:rPr lang="en-US" dirty="0"/>
              <a:t>Position, COMPANY NAME                From year – To year</a:t>
            </a:r>
          </a:p>
        </p:txBody>
      </p:sp>
      <p:sp>
        <p:nvSpPr>
          <p:cNvPr id="85" name="Content Placeholder 7"/>
          <p:cNvSpPr>
            <a:spLocks noGrp="1"/>
          </p:cNvSpPr>
          <p:nvPr>
            <p:ph sz="quarter" idx="104" hasCustomPrompt="1"/>
          </p:nvPr>
        </p:nvSpPr>
        <p:spPr>
          <a:xfrm>
            <a:off x="2681289" y="1784347"/>
            <a:ext cx="1975104" cy="1813719"/>
          </a:xfrm>
          <a:noFill/>
        </p:spPr>
        <p:txBody>
          <a:bodyPr/>
          <a:lstStyle>
            <a:lvl1pPr marL="171450" indent="-171450">
              <a:lnSpc>
                <a:spcPct val="120000"/>
              </a:lnSpc>
              <a:spcAft>
                <a:spcPts val="200"/>
              </a:spcAft>
              <a:defRPr sz="700" kern="0" spc="0">
                <a:latin typeface="Calibri" panose="020F0502020204030204" pitchFamily="34" charset="0"/>
              </a:defRPr>
            </a:lvl1pPr>
            <a:lvl2pPr marL="342900" indent="-171450">
              <a:spcAft>
                <a:spcPts val="400"/>
              </a:spcAft>
              <a:defRPr sz="700" kern="0" spc="0"/>
            </a:lvl2pPr>
            <a:lvl3pPr marL="514350" indent="-171450">
              <a:spcAft>
                <a:spcPts val="400"/>
              </a:spcAft>
              <a:defRPr sz="600" kern="0" spc="0"/>
            </a:lvl3pPr>
            <a:lvl4pPr marL="685800" indent="-171450">
              <a:spcAft>
                <a:spcPts val="400"/>
              </a:spcAft>
              <a:defRPr sz="500" kern="0" spc="0"/>
            </a:lvl4pPr>
            <a:lvl5pPr>
              <a:spcAft>
                <a:spcPts val="400"/>
              </a:spcAft>
              <a:defRPr sz="800" kern="0" spc="0"/>
            </a:lvl5pPr>
          </a:lstStyle>
          <a:p>
            <a:pPr lvl="0"/>
            <a:r>
              <a:rPr lang="en-US" dirty="0"/>
              <a:t>Education Degree, Course Name l Year Academic/ institute name</a:t>
            </a:r>
          </a:p>
        </p:txBody>
      </p:sp>
      <p:sp>
        <p:nvSpPr>
          <p:cNvPr id="86" name="Text Placeholder 5"/>
          <p:cNvSpPr>
            <a:spLocks noGrp="1"/>
          </p:cNvSpPr>
          <p:nvPr>
            <p:ph type="body" sz="quarter" idx="105" hasCustomPrompt="1"/>
          </p:nvPr>
        </p:nvSpPr>
        <p:spPr>
          <a:xfrm>
            <a:off x="4818888" y="1784347"/>
            <a:ext cx="3785616" cy="3425827"/>
          </a:xfrm>
          <a:noFill/>
        </p:spPr>
        <p:txBody>
          <a:bodyPr/>
          <a:lstStyle>
            <a:lvl1pPr marL="0" indent="0">
              <a:lnSpc>
                <a:spcPct val="120000"/>
              </a:lnSpc>
              <a:spcAft>
                <a:spcPts val="200"/>
              </a:spcAft>
              <a:buNone/>
              <a:defRPr sz="700" baseline="0">
                <a:solidFill>
                  <a:srgbClr val="E3303D"/>
                </a:solidFill>
                <a:latin typeface="Calibri" panose="020F0502020204030204" pitchFamily="34" charset="0"/>
              </a:defRPr>
            </a:lvl1pPr>
            <a:lvl2pPr marL="4762" indent="0">
              <a:lnSpc>
                <a:spcPct val="120000"/>
              </a:lnSpc>
              <a:spcAft>
                <a:spcPts val="200"/>
              </a:spcAft>
              <a:buFontTx/>
              <a:buNone/>
              <a:defRPr sz="700">
                <a:solidFill>
                  <a:srgbClr val="414042"/>
                </a:solidFill>
                <a:latin typeface="Calibri" panose="020F0502020204030204" pitchFamily="34" charset="0"/>
              </a:defRPr>
            </a:lvl2pPr>
            <a:lvl3pPr marL="342900" indent="-171450">
              <a:lnSpc>
                <a:spcPct val="120000"/>
              </a:lnSpc>
              <a:spcAft>
                <a:spcPts val="200"/>
              </a:spcAft>
              <a:buFontTx/>
              <a:buBlip>
                <a:blip r:embed="rId4"/>
              </a:buBlip>
              <a:defRPr sz="600"/>
            </a:lvl3pPr>
            <a:lvl4pPr marL="514350" indent="-171450">
              <a:lnSpc>
                <a:spcPct val="120000"/>
              </a:lnSpc>
              <a:spcAft>
                <a:spcPts val="200"/>
              </a:spcAft>
              <a:buFont typeface="Purista" pitchFamily="2" charset="0"/>
              <a:buChar char="→"/>
              <a:defRPr sz="500"/>
            </a:lvl4pPr>
            <a:lvl5pPr>
              <a:lnSpc>
                <a:spcPct val="120000"/>
              </a:lnSpc>
              <a:spcAft>
                <a:spcPts val="200"/>
              </a:spcAft>
              <a:defRPr sz="800"/>
            </a:lvl5pPr>
          </a:lstStyle>
          <a:p>
            <a:pPr lvl="0"/>
            <a:r>
              <a:rPr lang="en-US" dirty="0"/>
              <a:t>CLIENT NAME – PROJECT ROLE – PROJECT NAME | YEAR</a:t>
            </a:r>
          </a:p>
          <a:p>
            <a:pPr lvl="1"/>
            <a:r>
              <a:rPr lang="en-US" dirty="0"/>
              <a:t>Project description.</a:t>
            </a:r>
          </a:p>
        </p:txBody>
      </p:sp>
      <p:sp>
        <p:nvSpPr>
          <p:cNvPr id="87" name="Text Placeholder 9"/>
          <p:cNvSpPr>
            <a:spLocks noGrp="1"/>
          </p:cNvSpPr>
          <p:nvPr>
            <p:ph type="body" sz="quarter" idx="106" hasCustomPrompt="1"/>
          </p:nvPr>
        </p:nvSpPr>
        <p:spPr>
          <a:xfrm>
            <a:off x="2675368" y="1106170"/>
            <a:ext cx="5923215" cy="207809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Job description</a:t>
            </a:r>
          </a:p>
        </p:txBody>
      </p:sp>
    </p:spTree>
    <p:extLst>
      <p:ext uri="{BB962C8B-B14F-4D97-AF65-F5344CB8AC3E}">
        <p14:creationId xmlns:p14="http://schemas.microsoft.com/office/powerpoint/2010/main" val="298122843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9144000" cy="3187700"/>
          </a:xfrm>
          <a:solidFill>
            <a:schemeClr val="accent1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3395664"/>
            <a:ext cx="1809256" cy="1850098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3395664"/>
            <a:ext cx="1809256" cy="1850098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3395664"/>
            <a:ext cx="1809256" cy="1850098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3395664"/>
            <a:ext cx="1809256" cy="1850098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Picture Placeholder 29"/>
          <p:cNvSpPr>
            <a:spLocks noGrp="1" noChangeAspect="1"/>
          </p:cNvSpPr>
          <p:nvPr>
            <p:ph type="pic" sz="quarter" idx="92"/>
          </p:nvPr>
        </p:nvSpPr>
        <p:spPr bwMode="auto">
          <a:xfrm>
            <a:off x="879845" y="1316283"/>
            <a:ext cx="1128560" cy="112856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25400">
            <a:solidFill>
              <a:schemeClr val="bg1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29"/>
          <p:cNvSpPr>
            <a:spLocks noGrp="1" noChangeAspect="1"/>
          </p:cNvSpPr>
          <p:nvPr>
            <p:ph type="pic" sz="quarter" idx="93"/>
          </p:nvPr>
        </p:nvSpPr>
        <p:spPr bwMode="auto">
          <a:xfrm>
            <a:off x="2965097" y="1316283"/>
            <a:ext cx="1128560" cy="112856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25400">
            <a:solidFill>
              <a:schemeClr val="bg1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29"/>
          <p:cNvSpPr>
            <a:spLocks noGrp="1" noChangeAspect="1"/>
          </p:cNvSpPr>
          <p:nvPr>
            <p:ph type="pic" sz="quarter" idx="94"/>
          </p:nvPr>
        </p:nvSpPr>
        <p:spPr bwMode="auto">
          <a:xfrm>
            <a:off x="5050347" y="1316283"/>
            <a:ext cx="1128560" cy="112856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25400">
            <a:solidFill>
              <a:schemeClr val="bg1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29"/>
          <p:cNvSpPr>
            <a:spLocks noGrp="1" noChangeAspect="1"/>
          </p:cNvSpPr>
          <p:nvPr>
            <p:ph type="pic" sz="quarter" idx="95"/>
          </p:nvPr>
        </p:nvSpPr>
        <p:spPr bwMode="auto">
          <a:xfrm>
            <a:off x="7135596" y="1316283"/>
            <a:ext cx="1128560" cy="112856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25400">
            <a:solidFill>
              <a:schemeClr val="bg1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96" hasCustomPrompt="1"/>
          </p:nvPr>
        </p:nvSpPr>
        <p:spPr>
          <a:xfrm>
            <a:off x="539497" y="2527583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97" hasCustomPrompt="1"/>
          </p:nvPr>
        </p:nvSpPr>
        <p:spPr>
          <a:xfrm>
            <a:off x="2624749" y="2527583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7"/>
          <p:cNvSpPr>
            <a:spLocks noGrp="1"/>
          </p:cNvSpPr>
          <p:nvPr>
            <p:ph sz="quarter" idx="98" hasCustomPrompt="1"/>
          </p:nvPr>
        </p:nvSpPr>
        <p:spPr>
          <a:xfrm>
            <a:off x="4709999" y="2527583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7"/>
          <p:cNvSpPr>
            <a:spLocks noGrp="1"/>
          </p:cNvSpPr>
          <p:nvPr>
            <p:ph sz="quarter" idx="99" hasCustomPrompt="1"/>
          </p:nvPr>
        </p:nvSpPr>
        <p:spPr>
          <a:xfrm>
            <a:off x="6795249" y="2527583"/>
            <a:ext cx="1809255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8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784670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39497" y="3395664"/>
            <a:ext cx="1809256" cy="1850098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2624749" y="3395664"/>
            <a:ext cx="1809256" cy="1850098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4709999" y="3395664"/>
            <a:ext cx="1809256" cy="1850098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7" hasCustomPrompt="1"/>
          </p:nvPr>
        </p:nvSpPr>
        <p:spPr>
          <a:xfrm>
            <a:off x="6795249" y="3395664"/>
            <a:ext cx="1809256" cy="1850098"/>
          </a:xfrm>
        </p:spPr>
        <p:txBody>
          <a:bodyPr/>
          <a:lstStyle>
            <a:lvl1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1pPr>
            <a:lvl2pPr>
              <a:spcAft>
                <a:spcPts val="400"/>
              </a:spcAft>
              <a:defRPr sz="900" kern="0" spc="0">
                <a:latin typeface="Calibri" panose="020F0502020204030204" pitchFamily="34" charset="0"/>
              </a:defRPr>
            </a:lvl2pPr>
            <a:lvl3pPr>
              <a:spcAft>
                <a:spcPts val="400"/>
              </a:spcAft>
              <a:defRPr sz="800" kern="0" spc="0">
                <a:latin typeface="Calibri" panose="020F0502020204030204" pitchFamily="34" charset="0"/>
              </a:defRPr>
            </a:lvl3pPr>
            <a:lvl4pPr>
              <a:spcAft>
                <a:spcPts val="400"/>
              </a:spcAft>
              <a:defRPr sz="700" kern="0" spc="0">
                <a:latin typeface="Calibri" panose="020F0502020204030204" pitchFamily="34" charset="0"/>
              </a:defRPr>
            </a:lvl4pPr>
            <a:lvl5pPr>
              <a:spcAft>
                <a:spcPts val="400"/>
              </a:spcAft>
              <a:defRPr sz="1000" kern="0" spc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Paragraph</a:t>
            </a:r>
          </a:p>
        </p:txBody>
      </p:sp>
      <p:sp>
        <p:nvSpPr>
          <p:cNvPr id="11" name="Picture Placeholder 29"/>
          <p:cNvSpPr>
            <a:spLocks noGrp="1" noChangeAspect="1"/>
          </p:cNvSpPr>
          <p:nvPr>
            <p:ph type="pic" sz="quarter" idx="92"/>
          </p:nvPr>
        </p:nvSpPr>
        <p:spPr bwMode="auto">
          <a:xfrm>
            <a:off x="879845" y="1316283"/>
            <a:ext cx="1128560" cy="112856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29"/>
          <p:cNvSpPr>
            <a:spLocks noGrp="1" noChangeAspect="1"/>
          </p:cNvSpPr>
          <p:nvPr>
            <p:ph type="pic" sz="quarter" idx="93"/>
          </p:nvPr>
        </p:nvSpPr>
        <p:spPr bwMode="auto">
          <a:xfrm>
            <a:off x="2965097" y="1316283"/>
            <a:ext cx="1128560" cy="112856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29"/>
          <p:cNvSpPr>
            <a:spLocks noGrp="1" noChangeAspect="1"/>
          </p:cNvSpPr>
          <p:nvPr>
            <p:ph type="pic" sz="quarter" idx="94"/>
          </p:nvPr>
        </p:nvSpPr>
        <p:spPr bwMode="auto">
          <a:xfrm>
            <a:off x="5050347" y="1316283"/>
            <a:ext cx="1128560" cy="112856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29"/>
          <p:cNvSpPr>
            <a:spLocks noGrp="1" noChangeAspect="1"/>
          </p:cNvSpPr>
          <p:nvPr>
            <p:ph type="pic" sz="quarter" idx="95"/>
          </p:nvPr>
        </p:nvSpPr>
        <p:spPr bwMode="auto">
          <a:xfrm>
            <a:off x="7135596" y="1316283"/>
            <a:ext cx="1128560" cy="112856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96" hasCustomPrompt="1"/>
          </p:nvPr>
        </p:nvSpPr>
        <p:spPr>
          <a:xfrm>
            <a:off x="539497" y="2527583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97" hasCustomPrompt="1"/>
          </p:nvPr>
        </p:nvSpPr>
        <p:spPr>
          <a:xfrm>
            <a:off x="2624749" y="2527583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7"/>
          <p:cNvSpPr>
            <a:spLocks noGrp="1"/>
          </p:cNvSpPr>
          <p:nvPr>
            <p:ph sz="quarter" idx="98" hasCustomPrompt="1"/>
          </p:nvPr>
        </p:nvSpPr>
        <p:spPr>
          <a:xfrm>
            <a:off x="4709999" y="2527583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7"/>
          <p:cNvSpPr>
            <a:spLocks noGrp="1"/>
          </p:cNvSpPr>
          <p:nvPr>
            <p:ph sz="quarter" idx="99" hasCustomPrompt="1"/>
          </p:nvPr>
        </p:nvSpPr>
        <p:spPr>
          <a:xfrm>
            <a:off x="6795249" y="2527583"/>
            <a:ext cx="1809255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888684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39496" y="914400"/>
            <a:ext cx="8065008" cy="265176"/>
          </a:xfrm>
          <a:prstGeom prst="rect">
            <a:avLst/>
          </a:prstGeo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13511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Picture Placeholder 29"/>
          <p:cNvSpPr>
            <a:spLocks noGrp="1" noChangeAspect="1"/>
          </p:cNvSpPr>
          <p:nvPr>
            <p:ph type="pic" sz="quarter" idx="92"/>
          </p:nvPr>
        </p:nvSpPr>
        <p:spPr bwMode="auto">
          <a:xfrm>
            <a:off x="986924" y="1316283"/>
            <a:ext cx="914400" cy="91440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29"/>
          <p:cNvSpPr>
            <a:spLocks noGrp="1" noChangeAspect="1"/>
          </p:cNvSpPr>
          <p:nvPr>
            <p:ph type="pic" sz="quarter" idx="93"/>
          </p:nvPr>
        </p:nvSpPr>
        <p:spPr bwMode="auto">
          <a:xfrm>
            <a:off x="3072176" y="1316283"/>
            <a:ext cx="914400" cy="91440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29"/>
          <p:cNvSpPr>
            <a:spLocks noGrp="1" noChangeAspect="1"/>
          </p:cNvSpPr>
          <p:nvPr>
            <p:ph type="pic" sz="quarter" idx="94"/>
          </p:nvPr>
        </p:nvSpPr>
        <p:spPr bwMode="auto">
          <a:xfrm>
            <a:off x="5157426" y="1316283"/>
            <a:ext cx="914400" cy="91440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29"/>
          <p:cNvSpPr>
            <a:spLocks noGrp="1" noChangeAspect="1"/>
          </p:cNvSpPr>
          <p:nvPr>
            <p:ph type="pic" sz="quarter" idx="95"/>
          </p:nvPr>
        </p:nvSpPr>
        <p:spPr bwMode="auto">
          <a:xfrm>
            <a:off x="7242676" y="1316283"/>
            <a:ext cx="914400" cy="91440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96" hasCustomPrompt="1"/>
          </p:nvPr>
        </p:nvSpPr>
        <p:spPr>
          <a:xfrm>
            <a:off x="539496" y="2369537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97" hasCustomPrompt="1"/>
          </p:nvPr>
        </p:nvSpPr>
        <p:spPr>
          <a:xfrm>
            <a:off x="2624748" y="2369537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Content Placeholder 7"/>
          <p:cNvSpPr>
            <a:spLocks noGrp="1"/>
          </p:cNvSpPr>
          <p:nvPr>
            <p:ph sz="quarter" idx="98" hasCustomPrompt="1"/>
          </p:nvPr>
        </p:nvSpPr>
        <p:spPr>
          <a:xfrm>
            <a:off x="4709998" y="2369537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7"/>
          <p:cNvSpPr>
            <a:spLocks noGrp="1"/>
          </p:cNvSpPr>
          <p:nvPr>
            <p:ph sz="quarter" idx="99" hasCustomPrompt="1"/>
          </p:nvPr>
        </p:nvSpPr>
        <p:spPr>
          <a:xfrm>
            <a:off x="6795249" y="2369537"/>
            <a:ext cx="1809255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8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Picture Placeholder 29"/>
          <p:cNvSpPr>
            <a:spLocks noGrp="1" noChangeAspect="1"/>
          </p:cNvSpPr>
          <p:nvPr>
            <p:ph type="pic" sz="quarter" idx="100"/>
          </p:nvPr>
        </p:nvSpPr>
        <p:spPr bwMode="auto">
          <a:xfrm>
            <a:off x="986924" y="3228570"/>
            <a:ext cx="914400" cy="91440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29"/>
          <p:cNvSpPr>
            <a:spLocks noGrp="1" noChangeAspect="1"/>
          </p:cNvSpPr>
          <p:nvPr>
            <p:ph type="pic" sz="quarter" idx="101"/>
          </p:nvPr>
        </p:nvSpPr>
        <p:spPr bwMode="auto">
          <a:xfrm>
            <a:off x="3072176" y="3228570"/>
            <a:ext cx="914400" cy="91440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29"/>
          <p:cNvSpPr>
            <a:spLocks noGrp="1" noChangeAspect="1"/>
          </p:cNvSpPr>
          <p:nvPr>
            <p:ph type="pic" sz="quarter" idx="102"/>
          </p:nvPr>
        </p:nvSpPr>
        <p:spPr bwMode="auto">
          <a:xfrm>
            <a:off x="5157426" y="3228570"/>
            <a:ext cx="914400" cy="91440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29"/>
          <p:cNvSpPr>
            <a:spLocks noGrp="1" noChangeAspect="1"/>
          </p:cNvSpPr>
          <p:nvPr>
            <p:ph type="pic" sz="quarter" idx="103"/>
          </p:nvPr>
        </p:nvSpPr>
        <p:spPr bwMode="auto">
          <a:xfrm>
            <a:off x="7242676" y="3228570"/>
            <a:ext cx="914400" cy="914400"/>
          </a:xfrm>
          <a:custGeom>
            <a:avLst/>
            <a:gdLst>
              <a:gd name="connsiteX0" fmla="*/ 447675 w 895350"/>
              <a:gd name="connsiteY0" fmla="*/ 0 h 895350"/>
              <a:gd name="connsiteX1" fmla="*/ 895350 w 895350"/>
              <a:gd name="connsiteY1" fmla="*/ 447675 h 895350"/>
              <a:gd name="connsiteX2" fmla="*/ 447675 w 895350"/>
              <a:gd name="connsiteY2" fmla="*/ 895350 h 895350"/>
              <a:gd name="connsiteX3" fmla="*/ 0 w 895350"/>
              <a:gd name="connsiteY3" fmla="*/ 447675 h 895350"/>
              <a:gd name="connsiteX4" fmla="*/ 447675 w 895350"/>
              <a:gd name="connsiteY4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350" h="895350">
                <a:moveTo>
                  <a:pt x="447675" y="0"/>
                </a:moveTo>
                <a:cubicBezTo>
                  <a:pt x="694919" y="0"/>
                  <a:pt x="895350" y="200431"/>
                  <a:pt x="895350" y="447675"/>
                </a:cubicBezTo>
                <a:cubicBezTo>
                  <a:pt x="895350" y="694919"/>
                  <a:pt x="694919" y="895350"/>
                  <a:pt x="447675" y="895350"/>
                </a:cubicBezTo>
                <a:cubicBezTo>
                  <a:pt x="200431" y="895350"/>
                  <a:pt x="0" y="694919"/>
                  <a:pt x="0" y="447675"/>
                </a:cubicBezTo>
                <a:cubicBezTo>
                  <a:pt x="0" y="200431"/>
                  <a:pt x="200431" y="0"/>
                  <a:pt x="447675" y="0"/>
                </a:cubicBezTo>
                <a:close/>
              </a:path>
            </a:pathLst>
          </a:custGeom>
          <a:noFill/>
          <a:ln w="3175">
            <a:solidFill>
              <a:srgbClr val="E6E7E7"/>
            </a:solidFill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1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04" hasCustomPrompt="1"/>
          </p:nvPr>
        </p:nvSpPr>
        <p:spPr>
          <a:xfrm>
            <a:off x="539496" y="4281824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Content Placeholder 7"/>
          <p:cNvSpPr>
            <a:spLocks noGrp="1"/>
          </p:cNvSpPr>
          <p:nvPr>
            <p:ph sz="quarter" idx="105" hasCustomPrompt="1"/>
          </p:nvPr>
        </p:nvSpPr>
        <p:spPr>
          <a:xfrm>
            <a:off x="2624748" y="4281824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Content Placeholder 7"/>
          <p:cNvSpPr>
            <a:spLocks noGrp="1"/>
          </p:cNvSpPr>
          <p:nvPr>
            <p:ph sz="quarter" idx="106" hasCustomPrompt="1"/>
          </p:nvPr>
        </p:nvSpPr>
        <p:spPr>
          <a:xfrm>
            <a:off x="4709998" y="4281824"/>
            <a:ext cx="1809256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Content Placeholder 7"/>
          <p:cNvSpPr>
            <a:spLocks noGrp="1"/>
          </p:cNvSpPr>
          <p:nvPr>
            <p:ph sz="quarter" idx="107" hasCustomPrompt="1"/>
          </p:nvPr>
        </p:nvSpPr>
        <p:spPr>
          <a:xfrm>
            <a:off x="6795249" y="4281824"/>
            <a:ext cx="1809255" cy="463267"/>
          </a:xfrm>
        </p:spPr>
        <p:txBody>
          <a:bodyPr anchor="b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b="0" i="0" kern="0" cap="all" spc="0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000" kern="0" cap="all" spc="0" baseline="0">
                <a:solidFill>
                  <a:srgbClr val="F37A73"/>
                </a:solidFill>
                <a:latin typeface="Calibri" panose="020F0502020204030204" pitchFamily="34" charset="0"/>
              </a:defRPr>
            </a:lvl2pPr>
            <a:lvl3pPr marL="45720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0" spc="0"/>
            </a:lvl3pPr>
            <a:lvl4pPr marL="690562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700" kern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000" kern="0" spc="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6640014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Team displa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2624749" y="2660449"/>
            <a:ext cx="1809256" cy="176981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050">
                <a:solidFill>
                  <a:srgbClr val="58595B"/>
                </a:solidFill>
                <a:latin typeface="Calibri" panose="020F0502020204030204" pitchFamily="34" charset="0"/>
              </a:defRPr>
            </a:lvl2pPr>
          </a:lstStyle>
          <a:p>
            <a:pPr lvl="0"/>
            <a:r>
              <a:rPr lang="en-US" dirty="0"/>
              <a:t>Person name</a:t>
            </a:r>
          </a:p>
          <a:p>
            <a:pPr lvl="1"/>
            <a:r>
              <a:rPr lang="en-US" dirty="0"/>
              <a:t>Personal description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20" hasCustomPrompt="1"/>
          </p:nvPr>
        </p:nvSpPr>
        <p:spPr>
          <a:xfrm>
            <a:off x="539497" y="1447123"/>
            <a:ext cx="1809258" cy="1010327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baseline="0"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People Portrait</a:t>
            </a:r>
          </a:p>
        </p:txBody>
      </p:sp>
      <p:sp>
        <p:nvSpPr>
          <p:cNvPr id="25" name="Picture Placeholder 23"/>
          <p:cNvSpPr>
            <a:spLocks noGrp="1"/>
          </p:cNvSpPr>
          <p:nvPr>
            <p:ph type="pic" sz="quarter" idx="21" hasCustomPrompt="1"/>
          </p:nvPr>
        </p:nvSpPr>
        <p:spPr>
          <a:xfrm>
            <a:off x="2624747" y="1447123"/>
            <a:ext cx="1809258" cy="1010327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People Portrait</a:t>
            </a:r>
          </a:p>
        </p:txBody>
      </p:sp>
      <p:sp>
        <p:nvSpPr>
          <p:cNvPr id="26" name="Picture Placeholder 23"/>
          <p:cNvSpPr>
            <a:spLocks noGrp="1"/>
          </p:cNvSpPr>
          <p:nvPr>
            <p:ph type="pic" sz="quarter" idx="22" hasCustomPrompt="1"/>
          </p:nvPr>
        </p:nvSpPr>
        <p:spPr>
          <a:xfrm>
            <a:off x="4709997" y="1447123"/>
            <a:ext cx="1809258" cy="1010327"/>
          </a:xfrm>
        </p:spPr>
        <p:txBody>
          <a:bodyPr anchor="ctr"/>
          <a:lstStyle>
            <a:lvl1pPr marL="0" marR="0" indent="0" algn="ctr" defTabSz="809625" rtl="0" eaLnBrk="1" fontAlgn="base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People Portrait</a:t>
            </a:r>
          </a:p>
          <a:p>
            <a:endParaRPr lang="en-US" dirty="0"/>
          </a:p>
        </p:txBody>
      </p:sp>
      <p:sp>
        <p:nvSpPr>
          <p:cNvPr id="27" name="Picture Placeholder 23"/>
          <p:cNvSpPr>
            <a:spLocks noGrp="1"/>
          </p:cNvSpPr>
          <p:nvPr>
            <p:ph type="pic" sz="quarter" idx="23" hasCustomPrompt="1"/>
          </p:nvPr>
        </p:nvSpPr>
        <p:spPr>
          <a:xfrm>
            <a:off x="6795246" y="1447123"/>
            <a:ext cx="1809258" cy="1010327"/>
          </a:xfrm>
        </p:spPr>
        <p:txBody>
          <a:bodyPr anchor="ctr"/>
          <a:lstStyle>
            <a:lvl1pPr marL="0" marR="0" indent="0" algn="ctr" defTabSz="809625" rtl="0" eaLnBrk="1" fontAlgn="base" latinLnBrk="0" hangingPunct="1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People Portrait</a:t>
            </a:r>
          </a:p>
          <a:p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39497" y="2660449"/>
            <a:ext cx="1809256" cy="176981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050">
                <a:solidFill>
                  <a:srgbClr val="58595B"/>
                </a:solidFill>
                <a:latin typeface="Calibri" panose="020F0502020204030204" pitchFamily="34" charset="0"/>
              </a:defRPr>
            </a:lvl2pPr>
          </a:lstStyle>
          <a:p>
            <a:pPr lvl="0"/>
            <a:r>
              <a:rPr lang="en-US" dirty="0"/>
              <a:t>Person name</a:t>
            </a:r>
          </a:p>
          <a:p>
            <a:pPr lvl="1"/>
            <a:r>
              <a:rPr lang="en-US" dirty="0"/>
              <a:t>Personal description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6795248" y="2660449"/>
            <a:ext cx="1809256" cy="176981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050">
                <a:solidFill>
                  <a:srgbClr val="58595B"/>
                </a:solidFill>
                <a:latin typeface="Calibri" panose="020F0502020204030204" pitchFamily="34" charset="0"/>
              </a:defRPr>
            </a:lvl2pPr>
          </a:lstStyle>
          <a:p>
            <a:pPr lvl="0"/>
            <a:r>
              <a:rPr lang="en-US" dirty="0"/>
              <a:t>Person name</a:t>
            </a:r>
          </a:p>
          <a:p>
            <a:pPr lvl="1"/>
            <a:r>
              <a:rPr lang="en-US" dirty="0"/>
              <a:t>Personal description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09999" y="2660449"/>
            <a:ext cx="1809256" cy="1769812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Calibri" panose="020F0502020204030204" pitchFamily="34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050">
                <a:solidFill>
                  <a:srgbClr val="58595B"/>
                </a:solidFill>
                <a:latin typeface="Calibri" panose="020F0502020204030204" pitchFamily="34" charset="0"/>
              </a:defRPr>
            </a:lvl2pPr>
          </a:lstStyle>
          <a:p>
            <a:pPr lvl="0"/>
            <a:r>
              <a:rPr lang="en-US" dirty="0"/>
              <a:t>Person name</a:t>
            </a:r>
          </a:p>
          <a:p>
            <a:pPr lvl="1"/>
            <a:r>
              <a:rPr lang="en-US" dirty="0"/>
              <a:t>Personal description</a:t>
            </a:r>
          </a:p>
        </p:txBody>
      </p:sp>
    </p:spTree>
    <p:extLst>
      <p:ext uri="{BB962C8B-B14F-4D97-AF65-F5344CB8AC3E}">
        <p14:creationId xmlns:p14="http://schemas.microsoft.com/office/powerpoint/2010/main" val="328067174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1 Column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8065008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7" y="4736767"/>
            <a:ext cx="757308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6410"/>
            <a:ext cx="7576368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7576368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3817" y="4817388"/>
            <a:ext cx="6031322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6815139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6" y="2115789"/>
            <a:ext cx="7573087" cy="9144"/>
          </a:xfrm>
          <a:solidFill>
            <a:srgbClr val="929497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513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1 Column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6" y="576072"/>
            <a:ext cx="8065008" cy="456742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0536" y="4756027"/>
            <a:ext cx="757308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0536" y="1188762"/>
            <a:ext cx="7576368" cy="3491393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3817" y="4817388"/>
            <a:ext cx="6031322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6815139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0536" y="1104838"/>
            <a:ext cx="7573087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0536" y="775498"/>
            <a:ext cx="7576368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72497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1 Column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8065008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6" y="4756027"/>
            <a:ext cx="757308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1776866"/>
            <a:ext cx="7576368" cy="2903289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3817" y="4817388"/>
            <a:ext cx="6031322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6815139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14964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1 Column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6" y="576072"/>
            <a:ext cx="8065008" cy="4567427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7" y="4756027"/>
            <a:ext cx="7573087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775498"/>
            <a:ext cx="7576368" cy="390465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3817" y="4817388"/>
            <a:ext cx="6031322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6815139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38290151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28"/>
          </p:nvPr>
        </p:nvSpPr>
        <p:spPr>
          <a:xfrm>
            <a:off x="4736307" y="1577441"/>
            <a:ext cx="3868198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3868198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7" y="2115789"/>
            <a:ext cx="3381815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6410"/>
            <a:ext cx="3383280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48" name="Picture Placeholder 11"/>
          <p:cNvSpPr>
            <a:spLocks noGrp="1"/>
          </p:cNvSpPr>
          <p:nvPr>
            <p:ph type="pic" sz="quarter" idx="41"/>
          </p:nvPr>
        </p:nvSpPr>
        <p:spPr>
          <a:xfrm>
            <a:off x="4979503" y="2115789"/>
            <a:ext cx="3381815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Content Placeholder 4"/>
          <p:cNvSpPr>
            <a:spLocks noGrp="1"/>
          </p:cNvSpPr>
          <p:nvPr>
            <p:ph sz="quarter" idx="43" hasCustomPrompt="1"/>
          </p:nvPr>
        </p:nvSpPr>
        <p:spPr>
          <a:xfrm>
            <a:off x="4978037" y="2196410"/>
            <a:ext cx="3383280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338328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2" name="Text Placeholder 10"/>
          <p:cNvSpPr>
            <a:spLocks noGrp="1"/>
          </p:cNvSpPr>
          <p:nvPr>
            <p:ph type="body" sz="quarter" idx="45"/>
          </p:nvPr>
        </p:nvSpPr>
        <p:spPr>
          <a:xfrm>
            <a:off x="4978037" y="1776866"/>
            <a:ext cx="3383280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7" y="4736767"/>
            <a:ext cx="3381815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9" name="Picture Placeholder 11"/>
          <p:cNvSpPr>
            <a:spLocks noGrp="1"/>
          </p:cNvSpPr>
          <p:nvPr>
            <p:ph type="pic" sz="quarter" idx="42"/>
          </p:nvPr>
        </p:nvSpPr>
        <p:spPr>
          <a:xfrm>
            <a:off x="4979503" y="4736767"/>
            <a:ext cx="3381815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783817" y="4817389"/>
            <a:ext cx="2423728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3207544" y="4817389"/>
            <a:ext cx="95808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2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4978037" y="4817389"/>
            <a:ext cx="2423728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7401764" y="4817389"/>
            <a:ext cx="958087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92949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38867597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4"/>
          <p:cNvSpPr>
            <a:spLocks noGrp="1"/>
          </p:cNvSpPr>
          <p:nvPr>
            <p:ph type="body" sz="quarter" idx="53"/>
          </p:nvPr>
        </p:nvSpPr>
        <p:spPr>
          <a:xfrm>
            <a:off x="5804834" y="1577441"/>
            <a:ext cx="2799670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4980771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783818" y="2115789"/>
            <a:ext cx="4490184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783818" y="4736767"/>
            <a:ext cx="449018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783816" y="2196410"/>
            <a:ext cx="4492129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783816" y="1776866"/>
            <a:ext cx="4492129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783818" y="4817388"/>
            <a:ext cx="355006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4333884" y="4817388"/>
            <a:ext cx="942061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8" name="Picture Placeholder 11"/>
          <p:cNvSpPr>
            <a:spLocks noGrp="1"/>
          </p:cNvSpPr>
          <p:nvPr>
            <p:ph type="pic" sz="quarter" idx="47"/>
          </p:nvPr>
        </p:nvSpPr>
        <p:spPr>
          <a:xfrm>
            <a:off x="6049156" y="2115789"/>
            <a:ext cx="2308854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9" name="Picture Placeholder 11"/>
          <p:cNvSpPr>
            <a:spLocks noGrp="1"/>
          </p:cNvSpPr>
          <p:nvPr>
            <p:ph type="pic" sz="quarter" idx="48"/>
          </p:nvPr>
        </p:nvSpPr>
        <p:spPr>
          <a:xfrm>
            <a:off x="6049156" y="4736767"/>
            <a:ext cx="230885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Content Placeholder 4"/>
          <p:cNvSpPr>
            <a:spLocks noGrp="1"/>
          </p:cNvSpPr>
          <p:nvPr>
            <p:ph sz="quarter" idx="49" hasCustomPrompt="1"/>
          </p:nvPr>
        </p:nvSpPr>
        <p:spPr>
          <a:xfrm>
            <a:off x="6050329" y="2196410"/>
            <a:ext cx="2309854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50"/>
          </p:nvPr>
        </p:nvSpPr>
        <p:spPr>
          <a:xfrm>
            <a:off x="6050329" y="1776866"/>
            <a:ext cx="2309854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6049157" y="4817388"/>
            <a:ext cx="16470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52" hasCustomPrompt="1"/>
          </p:nvPr>
        </p:nvSpPr>
        <p:spPr>
          <a:xfrm>
            <a:off x="7696201" y="4817388"/>
            <a:ext cx="66398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31033152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3623733" y="1577441"/>
            <a:ext cx="4980771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3869026" y="2115789"/>
            <a:ext cx="4490184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3869026" y="4736767"/>
            <a:ext cx="449018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3868054" y="2196410"/>
            <a:ext cx="4492129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3868054" y="1776866"/>
            <a:ext cx="4492129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="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868054" y="4817388"/>
            <a:ext cx="3550066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7418122" y="4817388"/>
            <a:ext cx="942061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53"/>
          </p:nvPr>
        </p:nvSpPr>
        <p:spPr>
          <a:xfrm>
            <a:off x="539496" y="1577441"/>
            <a:ext cx="2799670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39496" y="576072"/>
            <a:ext cx="8065008" cy="60350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Picture Placeholder 11"/>
          <p:cNvSpPr>
            <a:spLocks noGrp="1"/>
          </p:cNvSpPr>
          <p:nvPr>
            <p:ph type="pic" sz="quarter" idx="47"/>
          </p:nvPr>
        </p:nvSpPr>
        <p:spPr>
          <a:xfrm>
            <a:off x="784904" y="2115789"/>
            <a:ext cx="2308854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9" name="Picture Placeholder 11"/>
          <p:cNvSpPr>
            <a:spLocks noGrp="1"/>
          </p:cNvSpPr>
          <p:nvPr>
            <p:ph type="pic" sz="quarter" idx="48"/>
          </p:nvPr>
        </p:nvSpPr>
        <p:spPr>
          <a:xfrm>
            <a:off x="784904" y="4736767"/>
            <a:ext cx="230885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Content Placeholder 4"/>
          <p:cNvSpPr>
            <a:spLocks noGrp="1"/>
          </p:cNvSpPr>
          <p:nvPr>
            <p:ph sz="quarter" idx="49" hasCustomPrompt="1"/>
          </p:nvPr>
        </p:nvSpPr>
        <p:spPr>
          <a:xfrm>
            <a:off x="784404" y="2196410"/>
            <a:ext cx="2309854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50"/>
          </p:nvPr>
        </p:nvSpPr>
        <p:spPr>
          <a:xfrm>
            <a:off x="784404" y="1776866"/>
            <a:ext cx="2309854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="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784404" y="4817388"/>
            <a:ext cx="16470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52" hasCustomPrompt="1"/>
          </p:nvPr>
        </p:nvSpPr>
        <p:spPr>
          <a:xfrm>
            <a:off x="2430276" y="4817388"/>
            <a:ext cx="66398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11985496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2 Columns -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539496" y="1577441"/>
            <a:ext cx="8065008" cy="3566058"/>
          </a:xfrm>
          <a:solidFill>
            <a:srgbClr val="F1F1F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 marL="690562" indent="0"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3"/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9496" y="914400"/>
            <a:ext cx="8065008" cy="26517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rgbClr val="6D6E71"/>
                </a:solidFill>
                <a:latin typeface="Calibri" panose="020F0502020204030204" pitchFamily="34" charset="0"/>
                <a:cs typeface="Segoe UI Light" panose="020B0502040204020203" pitchFamily="34" charset="0"/>
              </a:defRPr>
            </a:lvl1pPr>
            <a:lvl2pPr marL="233362" indent="0">
              <a:buFont typeface="Arial" panose="020B0604020202020204" pitchFamily="34" charset="0"/>
              <a:buNone/>
              <a:defRPr/>
            </a:lvl2pPr>
            <a:lvl3pPr marL="457200" indent="0">
              <a:buNone/>
              <a:defRPr/>
            </a:lvl3pPr>
            <a:lvl4pPr marL="690562" indent="0"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Picture Placeholder 11"/>
          <p:cNvSpPr>
            <a:spLocks noGrp="1"/>
          </p:cNvSpPr>
          <p:nvPr>
            <p:ph type="pic" sz="quarter" idx="35"/>
          </p:nvPr>
        </p:nvSpPr>
        <p:spPr>
          <a:xfrm>
            <a:off x="3340165" y="2115789"/>
            <a:ext cx="5020018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11"/>
          <p:cNvSpPr>
            <a:spLocks noGrp="1"/>
          </p:cNvSpPr>
          <p:nvPr>
            <p:ph type="pic" sz="quarter" idx="36"/>
          </p:nvPr>
        </p:nvSpPr>
        <p:spPr>
          <a:xfrm>
            <a:off x="3340165" y="4736767"/>
            <a:ext cx="5020018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3337990" y="2196410"/>
            <a:ext cx="5022193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44"/>
          </p:nvPr>
        </p:nvSpPr>
        <p:spPr>
          <a:xfrm>
            <a:off x="3337990" y="1776866"/>
            <a:ext cx="5022193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3340164" y="4817388"/>
            <a:ext cx="5020019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6815137" y="4817388"/>
            <a:ext cx="1545046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  <p:sp>
        <p:nvSpPr>
          <p:cNvPr id="48" name="Picture Placeholder 11"/>
          <p:cNvSpPr>
            <a:spLocks noGrp="1"/>
          </p:cNvSpPr>
          <p:nvPr>
            <p:ph type="pic" sz="quarter" idx="47"/>
          </p:nvPr>
        </p:nvSpPr>
        <p:spPr>
          <a:xfrm>
            <a:off x="783816" y="2115789"/>
            <a:ext cx="2308854" cy="9144"/>
          </a:xfrm>
          <a:solidFill>
            <a:srgbClr val="A7A9AC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9" name="Picture Placeholder 11"/>
          <p:cNvSpPr>
            <a:spLocks noGrp="1"/>
          </p:cNvSpPr>
          <p:nvPr>
            <p:ph type="pic" sz="quarter" idx="48"/>
          </p:nvPr>
        </p:nvSpPr>
        <p:spPr>
          <a:xfrm>
            <a:off x="783816" y="4736767"/>
            <a:ext cx="2308854" cy="9144"/>
          </a:xfrm>
          <a:solidFill>
            <a:srgbClr val="D1D3D4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0" name="Content Placeholder 4"/>
          <p:cNvSpPr>
            <a:spLocks noGrp="1"/>
          </p:cNvSpPr>
          <p:nvPr>
            <p:ph sz="quarter" idx="49" hasCustomPrompt="1"/>
          </p:nvPr>
        </p:nvSpPr>
        <p:spPr>
          <a:xfrm>
            <a:off x="783816" y="2196410"/>
            <a:ext cx="2309854" cy="2468880"/>
          </a:xfrm>
        </p:spPr>
        <p:txBody>
          <a:bodyPr anchor="ctr"/>
          <a:lstStyle>
            <a:lvl1pPr marL="0" indent="0" algn="ctr">
              <a:buNone/>
              <a:defRPr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hart and Table</a:t>
            </a: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50"/>
          </p:nvPr>
        </p:nvSpPr>
        <p:spPr>
          <a:xfrm>
            <a:off x="783816" y="1776866"/>
            <a:ext cx="2309854" cy="267446"/>
          </a:xfrm>
        </p:spPr>
        <p:txBody>
          <a:bodyPr t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cap="all" baseline="0">
                <a:solidFill>
                  <a:srgbClr val="414042"/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51" hasCustomPrompt="1"/>
          </p:nvPr>
        </p:nvSpPr>
        <p:spPr>
          <a:xfrm>
            <a:off x="783816" y="4817388"/>
            <a:ext cx="1647044" cy="1371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52" hasCustomPrompt="1"/>
          </p:nvPr>
        </p:nvSpPr>
        <p:spPr>
          <a:xfrm>
            <a:off x="2429688" y="4817388"/>
            <a:ext cx="663982" cy="137160"/>
          </a:xfrm>
        </p:spPr>
        <p:txBody>
          <a:bodyPr/>
          <a:lstStyle>
            <a:lvl1pPr marL="0" indent="0" algn="r">
              <a:buFont typeface="Arial" panose="020B0604020202020204" pitchFamily="34" charset="0"/>
              <a:buNone/>
              <a:defRPr sz="700">
                <a:solidFill>
                  <a:srgbClr val="808285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n=</a:t>
            </a:r>
          </a:p>
        </p:txBody>
      </p:sp>
    </p:spTree>
    <p:extLst>
      <p:ext uri="{BB962C8B-B14F-4D97-AF65-F5344CB8AC3E}">
        <p14:creationId xmlns:p14="http://schemas.microsoft.com/office/powerpoint/2010/main" val="622398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112.xml"/><Relationship Id="rId42" Type="http://schemas.openxmlformats.org/officeDocument/2006/relationships/slideLayout" Target="../slideLayouts/slideLayout133.xml"/><Relationship Id="rId47" Type="http://schemas.openxmlformats.org/officeDocument/2006/relationships/slideLayout" Target="../slideLayouts/slideLayout138.xml"/><Relationship Id="rId63" Type="http://schemas.openxmlformats.org/officeDocument/2006/relationships/slideLayout" Target="../slideLayouts/slideLayout154.xml"/><Relationship Id="rId68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32" Type="http://schemas.openxmlformats.org/officeDocument/2006/relationships/slideLayout" Target="../slideLayouts/slideLayout123.xml"/><Relationship Id="rId37" Type="http://schemas.openxmlformats.org/officeDocument/2006/relationships/slideLayout" Target="../slideLayouts/slideLayout128.xml"/><Relationship Id="rId40" Type="http://schemas.openxmlformats.org/officeDocument/2006/relationships/slideLayout" Target="../slideLayouts/slideLayout131.xml"/><Relationship Id="rId45" Type="http://schemas.openxmlformats.org/officeDocument/2006/relationships/slideLayout" Target="../slideLayouts/slideLayout136.xml"/><Relationship Id="rId53" Type="http://schemas.openxmlformats.org/officeDocument/2006/relationships/slideLayout" Target="../slideLayouts/slideLayout144.xml"/><Relationship Id="rId58" Type="http://schemas.openxmlformats.org/officeDocument/2006/relationships/slideLayout" Target="../slideLayouts/slideLayout149.xml"/><Relationship Id="rId66" Type="http://schemas.openxmlformats.org/officeDocument/2006/relationships/slideLayout" Target="../slideLayouts/slideLayout157.xml"/><Relationship Id="rId74" Type="http://schemas.openxmlformats.org/officeDocument/2006/relationships/image" Target="../media/image1.png"/><Relationship Id="rId5" Type="http://schemas.openxmlformats.org/officeDocument/2006/relationships/slideLayout" Target="../slideLayouts/slideLayout96.xml"/><Relationship Id="rId61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slideLayout" Target="../slideLayouts/slideLayout118.xml"/><Relationship Id="rId30" Type="http://schemas.openxmlformats.org/officeDocument/2006/relationships/slideLayout" Target="../slideLayouts/slideLayout121.xml"/><Relationship Id="rId35" Type="http://schemas.openxmlformats.org/officeDocument/2006/relationships/slideLayout" Target="../slideLayouts/slideLayout126.xml"/><Relationship Id="rId43" Type="http://schemas.openxmlformats.org/officeDocument/2006/relationships/slideLayout" Target="../slideLayouts/slideLayout134.xml"/><Relationship Id="rId48" Type="http://schemas.openxmlformats.org/officeDocument/2006/relationships/slideLayout" Target="../slideLayouts/slideLayout139.xml"/><Relationship Id="rId56" Type="http://schemas.openxmlformats.org/officeDocument/2006/relationships/slideLayout" Target="../slideLayouts/slideLayout147.xml"/><Relationship Id="rId64" Type="http://schemas.openxmlformats.org/officeDocument/2006/relationships/slideLayout" Target="../slideLayouts/slideLayout155.xml"/><Relationship Id="rId69" Type="http://schemas.openxmlformats.org/officeDocument/2006/relationships/slideLayout" Target="../slideLayouts/slideLayout160.xml"/><Relationship Id="rId8" Type="http://schemas.openxmlformats.org/officeDocument/2006/relationships/slideLayout" Target="../slideLayouts/slideLayout99.xml"/><Relationship Id="rId51" Type="http://schemas.openxmlformats.org/officeDocument/2006/relationships/slideLayout" Target="../slideLayouts/slideLayout142.xml"/><Relationship Id="rId72" Type="http://schemas.openxmlformats.org/officeDocument/2006/relationships/theme" Target="../theme/theme10.xml"/><Relationship Id="rId3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slideLayout" Target="../slideLayouts/slideLayout116.xml"/><Relationship Id="rId33" Type="http://schemas.openxmlformats.org/officeDocument/2006/relationships/slideLayout" Target="../slideLayouts/slideLayout124.xml"/><Relationship Id="rId38" Type="http://schemas.openxmlformats.org/officeDocument/2006/relationships/slideLayout" Target="../slideLayouts/slideLayout129.xml"/><Relationship Id="rId46" Type="http://schemas.openxmlformats.org/officeDocument/2006/relationships/slideLayout" Target="../slideLayouts/slideLayout137.xml"/><Relationship Id="rId59" Type="http://schemas.openxmlformats.org/officeDocument/2006/relationships/slideLayout" Target="../slideLayouts/slideLayout150.xml"/><Relationship Id="rId67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11.xml"/><Relationship Id="rId41" Type="http://schemas.openxmlformats.org/officeDocument/2006/relationships/slideLayout" Target="../slideLayouts/slideLayout132.xml"/><Relationship Id="rId54" Type="http://schemas.openxmlformats.org/officeDocument/2006/relationships/slideLayout" Target="../slideLayouts/slideLayout145.xml"/><Relationship Id="rId62" Type="http://schemas.openxmlformats.org/officeDocument/2006/relationships/slideLayout" Target="../slideLayouts/slideLayout153.xml"/><Relationship Id="rId70" Type="http://schemas.openxmlformats.org/officeDocument/2006/relationships/slideLayout" Target="../slideLayouts/slideLayout161.xml"/><Relationship Id="rId75" Type="http://schemas.openxmlformats.org/officeDocument/2006/relationships/image" Target="../media/image2.png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slideLayout" Target="../slideLayouts/slideLayout119.xml"/><Relationship Id="rId36" Type="http://schemas.openxmlformats.org/officeDocument/2006/relationships/slideLayout" Target="../slideLayouts/slideLayout127.xml"/><Relationship Id="rId49" Type="http://schemas.openxmlformats.org/officeDocument/2006/relationships/slideLayout" Target="../slideLayouts/slideLayout140.xml"/><Relationship Id="rId57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01.xml"/><Relationship Id="rId31" Type="http://schemas.openxmlformats.org/officeDocument/2006/relationships/slideLayout" Target="../slideLayouts/slideLayout122.xml"/><Relationship Id="rId44" Type="http://schemas.openxmlformats.org/officeDocument/2006/relationships/slideLayout" Target="../slideLayouts/slideLayout135.xml"/><Relationship Id="rId52" Type="http://schemas.openxmlformats.org/officeDocument/2006/relationships/slideLayout" Target="../slideLayouts/slideLayout143.xml"/><Relationship Id="rId60" Type="http://schemas.openxmlformats.org/officeDocument/2006/relationships/slideLayout" Target="../slideLayouts/slideLayout151.xml"/><Relationship Id="rId65" Type="http://schemas.openxmlformats.org/officeDocument/2006/relationships/slideLayout" Target="../slideLayouts/slideLayout156.xml"/><Relationship Id="rId73" Type="http://schemas.openxmlformats.org/officeDocument/2006/relationships/image" Target="../media/image4.png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39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25.xml"/><Relationship Id="rId50" Type="http://schemas.openxmlformats.org/officeDocument/2006/relationships/slideLayout" Target="../slideLayouts/slideLayout141.xml"/><Relationship Id="rId55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98.xml"/><Relationship Id="rId71" Type="http://schemas.openxmlformats.org/officeDocument/2006/relationships/slideLayout" Target="../slideLayouts/slideLayout16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34" Type="http://schemas.openxmlformats.org/officeDocument/2006/relationships/image" Target="../media/image15.pn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32" Type="http://schemas.openxmlformats.org/officeDocument/2006/relationships/slideLayout" Target="../slideLayouts/slideLayout53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5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51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6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67.xml"/><Relationship Id="rId9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7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8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4.pn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8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98" r:id="rId1"/>
    <p:sldLayoutId id="2147485368" r:id="rId2"/>
    <p:sldLayoutId id="2147485394" r:id="rId3"/>
    <p:sldLayoutId id="2147485519" r:id="rId4"/>
    <p:sldLayoutId id="2147485606" r:id="rId5"/>
    <p:sldLayoutId id="2147485517" r:id="rId6"/>
    <p:sldLayoutId id="2147485520" r:id="rId7"/>
    <p:sldLayoutId id="2147485611" r:id="rId8"/>
    <p:sldLayoutId id="2147485615" r:id="rId9"/>
    <p:sldLayoutId id="2147485806" r:id="rId10"/>
    <p:sldLayoutId id="2147485807" r:id="rId11"/>
    <p:sldLayoutId id="2147485808" r:id="rId12"/>
    <p:sldLayoutId id="2147485805" r:id="rId13"/>
    <p:sldLayoutId id="2147485812" r:id="rId14"/>
    <p:sldLayoutId id="2147485813" r:id="rId15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1" i="0" kern="1200" cap="all" baseline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17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18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b="1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517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69" r:id="rId1"/>
    <p:sldLayoutId id="2147485676" r:id="rId2"/>
    <p:sldLayoutId id="2147485679" r:id="rId3"/>
    <p:sldLayoutId id="2147485680" r:id="rId4"/>
    <p:sldLayoutId id="2147485670" r:id="rId5"/>
    <p:sldLayoutId id="2147485671" r:id="rId6"/>
    <p:sldLayoutId id="2147485672" r:id="rId7"/>
    <p:sldLayoutId id="2147485673" r:id="rId8"/>
    <p:sldLayoutId id="2147485674" r:id="rId9"/>
    <p:sldLayoutId id="2147485675" r:id="rId10"/>
    <p:sldLayoutId id="2147485707" r:id="rId11"/>
    <p:sldLayoutId id="2147485681" r:id="rId12"/>
    <p:sldLayoutId id="2147485685" r:id="rId13"/>
    <p:sldLayoutId id="2147485687" r:id="rId14"/>
    <p:sldLayoutId id="2147485689" r:id="rId15"/>
    <p:sldLayoutId id="2147485697" r:id="rId16"/>
    <p:sldLayoutId id="2147485698" r:id="rId17"/>
    <p:sldLayoutId id="2147485699" r:id="rId18"/>
    <p:sldLayoutId id="2147485703" r:id="rId19"/>
    <p:sldLayoutId id="2147485713" r:id="rId20"/>
    <p:sldLayoutId id="2147485729" r:id="rId21"/>
    <p:sldLayoutId id="2147485730" r:id="rId22"/>
    <p:sldLayoutId id="2147485731" r:id="rId23"/>
    <p:sldLayoutId id="2147485732" r:id="rId24"/>
    <p:sldLayoutId id="2147485733" r:id="rId25"/>
    <p:sldLayoutId id="2147485738" r:id="rId26"/>
    <p:sldLayoutId id="2147485747" r:id="rId27"/>
    <p:sldLayoutId id="2147485748" r:id="rId28"/>
    <p:sldLayoutId id="2147485750" r:id="rId29"/>
    <p:sldLayoutId id="2147485751" r:id="rId30"/>
    <p:sldLayoutId id="2147485752" r:id="rId31"/>
    <p:sldLayoutId id="2147485753" r:id="rId32"/>
    <p:sldLayoutId id="2147485754" r:id="rId33"/>
    <p:sldLayoutId id="2147485755" r:id="rId34"/>
    <p:sldLayoutId id="2147485757" r:id="rId35"/>
    <p:sldLayoutId id="2147485758" r:id="rId36"/>
    <p:sldLayoutId id="2147485761" r:id="rId37"/>
    <p:sldLayoutId id="2147485762" r:id="rId38"/>
    <p:sldLayoutId id="2147485769" r:id="rId39"/>
    <p:sldLayoutId id="2147485772" r:id="rId40"/>
    <p:sldLayoutId id="2147485774" r:id="rId41"/>
    <p:sldLayoutId id="2147485775" r:id="rId42"/>
    <p:sldLayoutId id="2147485688" r:id="rId43"/>
    <p:sldLayoutId id="2147485691" r:id="rId44"/>
    <p:sldLayoutId id="2147485692" r:id="rId45"/>
    <p:sldLayoutId id="2147485694" r:id="rId46"/>
    <p:sldLayoutId id="2147485695" r:id="rId47"/>
    <p:sldLayoutId id="2147485696" r:id="rId48"/>
    <p:sldLayoutId id="2147485702" r:id="rId49"/>
    <p:sldLayoutId id="2147485709" r:id="rId50"/>
    <p:sldLayoutId id="2147485710" r:id="rId51"/>
    <p:sldLayoutId id="2147485711" r:id="rId52"/>
    <p:sldLayoutId id="2147485723" r:id="rId53"/>
    <p:sldLayoutId id="2147485728" r:id="rId54"/>
    <p:sldLayoutId id="2147485740" r:id="rId55"/>
    <p:sldLayoutId id="2147485741" r:id="rId56"/>
    <p:sldLayoutId id="2147485742" r:id="rId57"/>
    <p:sldLayoutId id="2147485743" r:id="rId58"/>
    <p:sldLayoutId id="2147485744" r:id="rId59"/>
    <p:sldLayoutId id="2147485745" r:id="rId60"/>
    <p:sldLayoutId id="2147485746" r:id="rId61"/>
    <p:sldLayoutId id="2147485749" r:id="rId62"/>
    <p:sldLayoutId id="2147485756" r:id="rId63"/>
    <p:sldLayoutId id="2147485759" r:id="rId64"/>
    <p:sldLayoutId id="2147485760" r:id="rId65"/>
    <p:sldLayoutId id="2147485763" r:id="rId66"/>
    <p:sldLayoutId id="2147485764" r:id="rId67"/>
    <p:sldLayoutId id="2147485765" r:id="rId68"/>
    <p:sldLayoutId id="2147485766" r:id="rId69"/>
    <p:sldLayoutId id="2147485767" r:id="rId70"/>
    <p:sldLayoutId id="2147485802" r:id="rId71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1" i="0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74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75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i="1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729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3" r:id="rId1"/>
    <p:sldLayoutId id="2147485547" r:id="rId2"/>
    <p:sldLayoutId id="2147485548" r:id="rId3"/>
    <p:sldLayoutId id="2147485549" r:id="rId4"/>
    <p:sldLayoutId id="2147485550" r:id="rId5"/>
    <p:sldLayoutId id="2147485551" r:id="rId6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1" i="0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9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10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b="1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5899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9" r:id="rId1"/>
    <p:sldLayoutId id="2147485561" r:id="rId2"/>
    <p:sldLayoutId id="2147485562" r:id="rId3"/>
    <p:sldLayoutId id="2147485525" r:id="rId4"/>
    <p:sldLayoutId id="2147485526" r:id="rId5"/>
    <p:sldLayoutId id="2147485527" r:id="rId6"/>
    <p:sldLayoutId id="2147485528" r:id="rId7"/>
    <p:sldLayoutId id="2147485529" r:id="rId8"/>
    <p:sldLayoutId id="2147485530" r:id="rId9"/>
    <p:sldLayoutId id="2147485531" r:id="rId10"/>
    <p:sldLayoutId id="2147485532" r:id="rId11"/>
    <p:sldLayoutId id="2147485533" r:id="rId12"/>
    <p:sldLayoutId id="2147485534" r:id="rId13"/>
    <p:sldLayoutId id="2147485535" r:id="rId14"/>
    <p:sldLayoutId id="2147485536" r:id="rId15"/>
    <p:sldLayoutId id="2147485537" r:id="rId16"/>
    <p:sldLayoutId id="2147485538" r:id="rId17"/>
    <p:sldLayoutId id="2147485540" r:id="rId18"/>
    <p:sldLayoutId id="2147485541" r:id="rId19"/>
    <p:sldLayoutId id="2147485542" r:id="rId20"/>
    <p:sldLayoutId id="2147485564" r:id="rId21"/>
    <p:sldLayoutId id="2147485565" r:id="rId22"/>
    <p:sldLayoutId id="2147485566" r:id="rId23"/>
    <p:sldLayoutId id="2147485567" r:id="rId24"/>
    <p:sldLayoutId id="2147485568" r:id="rId25"/>
    <p:sldLayoutId id="2147485571" r:id="rId26"/>
    <p:sldLayoutId id="2147485572" r:id="rId27"/>
    <p:sldLayoutId id="2147485573" r:id="rId28"/>
    <p:sldLayoutId id="2147485574" r:id="rId29"/>
    <p:sldLayoutId id="2147485577" r:id="rId30"/>
    <p:sldLayoutId id="2147485578" r:id="rId31"/>
    <p:sldLayoutId id="2147485579" r:id="rId32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1" i="0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35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36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b="1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7381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93" r:id="rId1"/>
    <p:sldLayoutId id="2147485595" r:id="rId2"/>
    <p:sldLayoutId id="2147485596" r:id="rId3"/>
    <p:sldLayoutId id="2147485597" r:id="rId4"/>
    <p:sldLayoutId id="2147485598" r:id="rId5"/>
    <p:sldLayoutId id="2147485599" r:id="rId6"/>
    <p:sldLayoutId id="2147485594" r:id="rId7"/>
    <p:sldLayoutId id="2147485600" r:id="rId8"/>
    <p:sldLayoutId id="2147485601" r:id="rId9"/>
    <p:sldLayoutId id="2147485602" r:id="rId10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1" i="0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13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14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b="1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815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8" r:id="rId1"/>
    <p:sldLayoutId id="2147485619" r:id="rId2"/>
    <p:sldLayoutId id="2147485620" r:id="rId3"/>
    <p:sldLayoutId id="2147485621" r:id="rId4"/>
    <p:sldLayoutId id="2147485622" r:id="rId5"/>
    <p:sldLayoutId id="2147485623" r:id="rId6"/>
    <p:sldLayoutId id="2147485624" r:id="rId7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1" i="0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10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11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b="1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46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7" r:id="rId1"/>
    <p:sldLayoutId id="2147485628" r:id="rId2"/>
    <p:sldLayoutId id="2147485629" r:id="rId3"/>
    <p:sldLayoutId id="2147485630" r:id="rId4"/>
    <p:sldLayoutId id="2147485631" r:id="rId5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1" i="0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8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9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b="1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0817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33" r:id="rId1"/>
    <p:sldLayoutId id="2147485634" r:id="rId2"/>
    <p:sldLayoutId id="2147485635" r:id="rId3"/>
    <p:sldLayoutId id="2147485636" r:id="rId4"/>
    <p:sldLayoutId id="2147485637" r:id="rId5"/>
    <p:sldLayoutId id="2147485638" r:id="rId6"/>
    <p:sldLayoutId id="2147485639" r:id="rId7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0" i="0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10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11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0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0529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42" r:id="rId1"/>
    <p:sldLayoutId id="2147485644" r:id="rId2"/>
    <p:sldLayoutId id="2147485645" r:id="rId3"/>
    <p:sldLayoutId id="2147485646" r:id="rId4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1" i="0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7"/>
        </a:buBlip>
        <a:defRPr lang="en-US" sz="1000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8"/>
        </a:buBlip>
        <a:defRPr lang="en-US" sz="900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539496" y="1583531"/>
            <a:ext cx="8065008" cy="33542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Paragraph</a:t>
            </a:r>
          </a:p>
          <a:p>
            <a:pPr lvl="5"/>
            <a:r>
              <a:rPr lang="en-US" dirty="0"/>
              <a:t>Sub-heading Paragraph</a:t>
            </a:r>
          </a:p>
          <a:p>
            <a:pPr lvl="6"/>
            <a:r>
              <a:rPr lang="en-US" dirty="0"/>
              <a:t>Secondary Heading</a:t>
            </a:r>
          </a:p>
          <a:p>
            <a:pPr lvl="7"/>
            <a:r>
              <a:rPr lang="en-US" dirty="0"/>
              <a:t>Caption</a:t>
            </a:r>
          </a:p>
          <a:p>
            <a:pPr lvl="8"/>
            <a:r>
              <a:rPr lang="en-US" dirty="0"/>
              <a:t>Annot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31776" y="5379242"/>
            <a:ext cx="5822950" cy="82550"/>
          </a:xfrm>
          <a:prstGeom prst="rect">
            <a:avLst/>
          </a:prstGeom>
        </p:spPr>
        <p:txBody>
          <a:bodyPr vert="horz" lIns="0" tIns="0" rIns="81043" bIns="0" rtlCol="0" anchor="ctr"/>
          <a:lstStyle>
            <a:lvl1pPr algn="l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1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9976" y="5379242"/>
            <a:ext cx="220663" cy="825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defTabSz="81043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 i="1" kern="700" cap="all" spc="20" baseline="0">
                <a:solidFill>
                  <a:srgbClr val="80828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 </a:t>
            </a:r>
            <a:fld id="{DE0CD65C-5600-3243-B8FF-DA4DAD8CA31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9" name="Title Placeholder 2"/>
          <p:cNvSpPr>
            <a:spLocks noGrp="1"/>
          </p:cNvSpPr>
          <p:nvPr>
            <p:ph type="title"/>
          </p:nvPr>
        </p:nvSpPr>
        <p:spPr bwMode="auto">
          <a:xfrm>
            <a:off x="539496" y="576072"/>
            <a:ext cx="8065008" cy="60350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Heading Title</a:t>
            </a: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7546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5" r:id="rId1"/>
    <p:sldLayoutId id="2147485411" r:id="rId2"/>
    <p:sldLayoutId id="2147485799" r:id="rId3"/>
    <p:sldLayoutId id="2147485801" r:id="rId4"/>
    <p:sldLayoutId id="2147485794" r:id="rId5"/>
  </p:sldLayoutIdLst>
  <p:hf hdr="0" dt="0"/>
  <p:txStyles>
    <p:titleStyle>
      <a:lvl1pPr algn="l" defTabSz="809625" rtl="0" eaLnBrk="1" fontAlgn="base" hangingPunct="1">
        <a:spcBef>
          <a:spcPct val="0"/>
        </a:spcBef>
        <a:spcAft>
          <a:spcPct val="0"/>
        </a:spcAft>
        <a:defRPr sz="2000" b="0" i="1" kern="1200" cap="all" baseline="0">
          <a:solidFill>
            <a:srgbClr val="414042"/>
          </a:solidFill>
          <a:latin typeface="Calibri" panose="020F0502020204030204" pitchFamily="34" charset="0"/>
          <a:ea typeface="Segoe UI Black" panose="020B0A02040204020203" pitchFamily="34" charset="0"/>
          <a:cs typeface="Segoe UI Black" panose="020B0A02040204020203" pitchFamily="34" charset="0"/>
        </a:defRPr>
      </a:lvl1pPr>
      <a:lvl2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2pPr>
      <a:lvl3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3pPr>
      <a:lvl4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4pPr>
      <a:lvl5pPr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5pPr>
      <a:lvl6pPr marL="4572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6pPr>
      <a:lvl7pPr marL="9144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7pPr>
      <a:lvl8pPr marL="13716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8pPr>
      <a:lvl9pPr marL="1828800" algn="l" defTabSz="809625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Purista SemiBold" charset="0"/>
          <a:ea typeface="ＭＳ Ｐゴシック" charset="0"/>
        </a:defRPr>
      </a:lvl9pPr>
    </p:titleStyle>
    <p:bodyStyle>
      <a:lvl1pPr marL="2333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SzPct val="100000"/>
        <a:buFontTx/>
        <a:buBlip>
          <a:blip r:embed="rId8"/>
        </a:buBlip>
        <a:defRPr lang="en-US" sz="1000" i="1" kern="0" spc="0" baseline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1pPr>
      <a:lvl2pPr marL="4572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SzPct val="100000"/>
        <a:buFontTx/>
        <a:buBlip>
          <a:blip r:embed="rId9"/>
        </a:buBlip>
        <a:defRPr lang="en-US" sz="900" i="1" kern="0" spc="0" dirty="0">
          <a:solidFill>
            <a:srgbClr val="58595B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2pPr>
      <a:lvl3pPr marL="690563" indent="-233363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→"/>
        <a:defRPr lang="en-US" sz="800" i="1" kern="0" spc="0" baseline="0" dirty="0">
          <a:solidFill>
            <a:srgbClr val="6D6E71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3pPr>
      <a:lvl4pPr marL="914400" indent="-223838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accent1"/>
        </a:buClr>
        <a:buFont typeface="Purista" pitchFamily="2" charset="0"/>
        <a:buChar char="↘"/>
        <a:defRPr lang="en-US" sz="700" i="1" kern="0" spc="0" dirty="0">
          <a:solidFill>
            <a:srgbClr val="808285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4pPr>
      <a:lvl5pPr marL="0" indent="0" algn="l" defTabSz="809625" rtl="0" eaLnBrk="1" fontAlgn="base" hangingPunct="1">
        <a:lnSpc>
          <a:spcPct val="120000"/>
        </a:lnSpc>
        <a:spcBef>
          <a:spcPts val="200"/>
        </a:spcBef>
        <a:spcAft>
          <a:spcPts val="600"/>
        </a:spcAft>
        <a:buClr>
          <a:schemeClr val="tx2"/>
        </a:buClr>
        <a:buSzPct val="90000"/>
        <a:buFont typeface="Arial" charset="0"/>
        <a:buNone/>
        <a:tabLst/>
        <a:defRPr lang="en-US" sz="1000" i="1" kern="0" spc="0" dirty="0">
          <a:solidFill>
            <a:srgbClr val="414042"/>
          </a:solidFill>
          <a:latin typeface="Calibri" panose="020F0502020204030204" pitchFamily="34" charset="0"/>
          <a:ea typeface="ＭＳ Ｐゴシック" charset="0"/>
          <a:cs typeface="Calibri" panose="020F0502020204030204" pitchFamily="34" charset="0"/>
        </a:defRPr>
      </a:lvl5pPr>
      <a:lvl6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200" i="1" kern="1200">
          <a:solidFill>
            <a:srgbClr val="414042"/>
          </a:solidFill>
          <a:latin typeface="Calibri" panose="020F0502020204030204" pitchFamily="34" charset="0"/>
          <a:ea typeface="+mn-ea"/>
          <a:cs typeface="+mn-cs"/>
        </a:defRPr>
      </a:lvl6pPr>
      <a:lvl7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i="1" kern="1200">
          <a:solidFill>
            <a:srgbClr val="58595B"/>
          </a:solidFill>
          <a:latin typeface="Calibri" panose="020F0502020204030204" pitchFamily="34" charset="0"/>
          <a:ea typeface="+mn-ea"/>
          <a:cs typeface="+mn-cs"/>
        </a:defRPr>
      </a:lvl7pPr>
      <a:lvl8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1400" i="1" kern="1200">
          <a:solidFill>
            <a:schemeClr val="accent1"/>
          </a:solidFill>
          <a:latin typeface="Calibri" panose="020F0502020204030204" pitchFamily="34" charset="0"/>
          <a:ea typeface="+mn-ea"/>
          <a:cs typeface="Segoe UI Light" panose="020B0502040204020203" pitchFamily="34" charset="0"/>
        </a:defRPr>
      </a:lvl8pPr>
      <a:lvl9pPr marL="0" indent="0" algn="l" defTabSz="810433" rtl="0" eaLnBrk="1" latinLnBrk="0" hangingPunct="1">
        <a:lnSpc>
          <a:spcPct val="120000"/>
        </a:lnSpc>
        <a:spcBef>
          <a:spcPts val="200"/>
        </a:spcBef>
        <a:spcAft>
          <a:spcPts val="600"/>
        </a:spcAft>
        <a:buFont typeface="Arial" pitchFamily="34" charset="0"/>
        <a:buNone/>
        <a:defRPr sz="800" i="1" kern="1200">
          <a:solidFill>
            <a:srgbClr val="A7A9AC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6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33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9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6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82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98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515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31" algn="l" defTabSz="81043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microsoft.com/office/2007/relationships/hdphoto" Target="../media/hdphoto5.wdp"/><Relationship Id="rId7" Type="http://schemas.openxmlformats.org/officeDocument/2006/relationships/image" Target="../media/image22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6.wdp"/><Relationship Id="rId5" Type="http://schemas.openxmlformats.org/officeDocument/2006/relationships/image" Target="../media/image21.png"/><Relationship Id="rId10" Type="http://schemas.openxmlformats.org/officeDocument/2006/relationships/image" Target="../media/image4.png"/><Relationship Id="rId4" Type="http://schemas.openxmlformats.org/officeDocument/2006/relationships/image" Target="../media/image20.jpeg"/><Relationship Id="rId9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9.png"/><Relationship Id="rId7" Type="http://schemas.microsoft.com/office/2007/relationships/hdphoto" Target="../media/hdphoto6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microsoft.com/office/2007/relationships/hdphoto" Target="../media/hdphoto5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jp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svg"/><Relationship Id="rId11" Type="http://schemas.openxmlformats.org/officeDocument/2006/relationships/image" Target="../media/image13.pn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jpeg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31.jpg"/><Relationship Id="rId5" Type="http://schemas.openxmlformats.org/officeDocument/2006/relationships/tags" Target="../tags/tag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6B877DE-3796-4F55-A230-14B7A115DC2B}"/>
              </a:ext>
            </a:extLst>
          </p:cNvPr>
          <p:cNvGrpSpPr/>
          <p:nvPr/>
        </p:nvGrpSpPr>
        <p:grpSpPr>
          <a:xfrm>
            <a:off x="-57150" y="0"/>
            <a:ext cx="9258300" cy="5715000"/>
            <a:chOff x="258909" y="3144954"/>
            <a:chExt cx="3129270" cy="2041707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593AE22-BBDA-4E33-903A-4BE2D2CD8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809447" y="4132419"/>
              <a:ext cx="1578732" cy="1054242"/>
            </a:xfrm>
            <a:prstGeom prst="rect">
              <a:avLst/>
            </a:prstGeom>
          </p:spPr>
        </p:pic>
        <p:pic>
          <p:nvPicPr>
            <p:cNvPr id="12" name="Picture 4" descr="DOT - Din Offentlige Transports billede.">
              <a:extLst>
                <a:ext uri="{FF2B5EF4-FFF2-40B4-BE49-F238E27FC236}">
                  <a16:creationId xmlns:a16="http://schemas.microsoft.com/office/drawing/2014/main" id="{45A2B847-6E8A-47AE-AED0-D2A402EBBC8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255" r="41739" b="25255"/>
            <a:stretch/>
          </p:blipFill>
          <p:spPr bwMode="auto">
            <a:xfrm>
              <a:off x="1746344" y="3144954"/>
              <a:ext cx="1641835" cy="1046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935960C-947E-4700-8CD7-5F2472DEB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70422" y="3144955"/>
              <a:ext cx="1579429" cy="1052952"/>
            </a:xfrm>
            <a:prstGeom prst="rect">
              <a:avLst/>
            </a:prstGeom>
          </p:spPr>
        </p:pic>
        <p:pic>
          <p:nvPicPr>
            <p:cNvPr id="14" name="Picture Placeholder 7">
              <a:extLst>
                <a:ext uri="{FF2B5EF4-FFF2-40B4-BE49-F238E27FC236}">
                  <a16:creationId xmlns:a16="http://schemas.microsoft.com/office/drawing/2014/main" id="{AB5396DD-89D9-44CA-9AB1-CD74D9C3E1F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909" y="4191032"/>
              <a:ext cx="1590942" cy="994339"/>
            </a:xfrm>
            <a:prstGeom prst="rect">
              <a:avLst/>
            </a:prstGeom>
            <a:noFill/>
            <a:ln>
              <a:noFill/>
            </a:ln>
            <a:extLst>
              <a:ext uri="{FAA26D3D-D897-4be2-8F04-BA451C77F1D7}">
                <ma14:placeholderFlag xmlns="" xmlns:ma14="http://schemas.microsoft.com/office/mac/drawingml/2011/main" xmlns:lc="http://schemas.openxmlformats.org/drawingml/2006/lockedCanvas" val="1"/>
              </a:ext>
              <a:ext uri="{909E8E84-426E-40dd-AFC4-6F175D3DCCD1}">
                <a14:hiddenFill xmlns:a14="http://schemas.microsoft.com/office/drawing/2010/main" xmlns="" xmlns:lc="http://schemas.openxmlformats.org/drawingml/2006/lockedCanvas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xmlns:lc="http://schemas.openxmlformats.org/drawingml/2006/lockedCanvas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Rectangle 9"/>
          <p:cNvSpPr/>
          <p:nvPr/>
        </p:nvSpPr>
        <p:spPr>
          <a:xfrm>
            <a:off x="1095830" y="829733"/>
            <a:ext cx="6958309" cy="180589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Calibri" panose="020F0502020204030204" pitchFamily="34" charset="0"/>
              </a:rPr>
              <a:t>MOBILITET</a:t>
            </a:r>
          </a:p>
          <a:p>
            <a:pPr algn="ctr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</a:rPr>
              <a:t>- </a:t>
            </a:r>
            <a:r>
              <a:rPr lang="en-US" sz="3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Brugerindsigt</a:t>
            </a: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3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og</a:t>
            </a: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3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fleksible</a:t>
            </a: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sz="3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løsninger</a:t>
            </a: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</a:rPr>
              <a:t>  </a:t>
            </a:r>
            <a:endParaRPr lang="en-US" sz="3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Picture 9"/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7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4">
            <a:extLst>
              <a:ext uri="{FF2B5EF4-FFF2-40B4-BE49-F238E27FC236}">
                <a16:creationId xmlns:a16="http://schemas.microsoft.com/office/drawing/2014/main" id="{0B6CFE59-3DAF-48C4-8D89-92E105E7B9C2}"/>
              </a:ext>
            </a:extLst>
          </p:cNvPr>
          <p:cNvSpPr txBox="1"/>
          <p:nvPr/>
        </p:nvSpPr>
        <p:spPr>
          <a:xfrm>
            <a:off x="2662511" y="2764041"/>
            <a:ext cx="3454271" cy="776989"/>
          </a:xfrm>
          <a:prstGeom prst="rect">
            <a:avLst/>
          </a:prstGeom>
          <a:solidFill>
            <a:schemeClr val="tx1"/>
          </a:solidFill>
        </p:spPr>
        <p:txBody>
          <a:bodyPr wrap="square" lIns="540000" tIns="72000" rIns="144000" bIns="7200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nb-NO" sz="1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LOGKONFERENCE OM KOMBINERT MOBILITET </a:t>
            </a:r>
            <a:endParaRPr lang="en-US" sz="2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105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13A5923F-0A07-45E9-9721-D47107CC57D4}"/>
              </a:ext>
            </a:extLst>
          </p:cNvPr>
          <p:cNvSpPr/>
          <p:nvPr/>
        </p:nvSpPr>
        <p:spPr>
          <a:xfrm>
            <a:off x="3523473" y="2891063"/>
            <a:ext cx="5387165" cy="2298717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84BA76B7-8F5F-4AF9-BE35-E15188FA7A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9447" y="4132419"/>
            <a:ext cx="1578732" cy="1054242"/>
          </a:xfrm>
          <a:prstGeom prst="rect">
            <a:avLst/>
          </a:prstGeom>
        </p:spPr>
      </p:pic>
      <p:pic>
        <p:nvPicPr>
          <p:cNvPr id="29" name="Picture 4" descr="DOT - Din Offentlige Transports billede.">
            <a:extLst>
              <a:ext uri="{FF2B5EF4-FFF2-40B4-BE49-F238E27FC236}">
                <a16:creationId xmlns:a16="http://schemas.microsoft.com/office/drawing/2014/main" id="{78ECE0B6-AFB1-4CA5-8EF2-B6D8E6742E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55" r="41739" b="25255"/>
          <a:stretch/>
        </p:blipFill>
        <p:spPr bwMode="auto">
          <a:xfrm>
            <a:off x="1746344" y="3144954"/>
            <a:ext cx="1641835" cy="1046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9333579-8D95-465C-BD25-CC7727D225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0422" y="3144955"/>
            <a:ext cx="1579429" cy="1052952"/>
          </a:xfrm>
          <a:prstGeom prst="rect">
            <a:avLst/>
          </a:prstGeom>
        </p:spPr>
      </p:pic>
      <p:pic>
        <p:nvPicPr>
          <p:cNvPr id="27" name="Picture Placeholder 7">
            <a:extLst>
              <a:ext uri="{FF2B5EF4-FFF2-40B4-BE49-F238E27FC236}">
                <a16:creationId xmlns:a16="http://schemas.microsoft.com/office/drawing/2014/main" id="{799B355C-9C07-4BAC-ABD8-8B746CFD095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8909" y="4191032"/>
            <a:ext cx="1590942" cy="99433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ktangel 5"/>
          <p:cNvSpPr/>
          <p:nvPr/>
        </p:nvSpPr>
        <p:spPr>
          <a:xfrm>
            <a:off x="3523473" y="536241"/>
            <a:ext cx="5387165" cy="2281300"/>
          </a:xfrm>
          <a:prstGeom prst="rect">
            <a:avLst/>
          </a:prstGeom>
          <a:solidFill>
            <a:srgbClr val="1C6C8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810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700" cap="all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fld id="{DE0CD65C-5600-3243-B8FF-DA4DAD8CA31A}" type="slidenum">
              <a:rPr kumimoji="0" lang="en-US" sz="700" b="0" i="0" u="none" strike="noStrike" kern="700" cap="all" spc="2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810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00" b="0" i="0" u="none" strike="noStrike" kern="700" cap="all" spc="2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3724" y="536241"/>
            <a:ext cx="3050976" cy="1063175"/>
          </a:xfrm>
        </p:spPr>
        <p:txBody>
          <a:bodyPr/>
          <a:lstStyle/>
          <a:p>
            <a:pPr lvl="5">
              <a:lnSpc>
                <a:spcPct val="100000"/>
              </a:lnSpc>
              <a:defRPr/>
            </a:pPr>
            <a:r>
              <a:rPr lang="da-DK" sz="2000" dirty="0">
                <a:solidFill>
                  <a:schemeClr val="tx1"/>
                </a:solidFill>
                <a:latin typeface="Purista" pitchFamily="50" charset="0"/>
              </a:rPr>
              <a:t>EPINION HAR ERFARING MED FORSKELLIGE TILGANGE TIL MOBILITET</a:t>
            </a:r>
            <a:endParaRPr lang="da-DK" b="0" kern="0" dirty="0">
              <a:solidFill>
                <a:schemeClr val="tx1"/>
              </a:solidFill>
              <a:latin typeface="Purista" pitchFamily="50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3" name="Tekstfelt 2"/>
          <p:cNvSpPr txBox="1"/>
          <p:nvPr/>
        </p:nvSpPr>
        <p:spPr>
          <a:xfrm>
            <a:off x="3679591" y="660279"/>
            <a:ext cx="3480488" cy="18364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da-DK" sz="1200" b="1" dirty="0">
                <a:latin typeface="Calibri" panose="020F0502020204030204" pitchFamily="34" charset="0"/>
                <a:ea typeface="+mn-ea"/>
                <a:cs typeface="+mn-cs"/>
              </a:rPr>
              <a:t>CASE:  NT’S BANEBRYDENDE REJSEPLAN</a:t>
            </a:r>
            <a:endParaRPr lang="da-DK" sz="9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NT – Nordjyllands Trafikselskab har omfavnet de nye digitale tendenser og udviklet en ny version af rejseplanen, der blandt andet integrerer private transporttilbud såsom taxi, delebiler og </a:t>
            </a:r>
            <a:r>
              <a:rPr lang="da-DK" sz="9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samkørselsordninger</a:t>
            </a: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. I samarbejde med NT gennemfører Epinion et </a:t>
            </a:r>
            <a:r>
              <a:rPr lang="da-DK" sz="9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tracking</a:t>
            </a: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 studie, der måler borgernes mobilitet i Region Nordjylland før og efter indførslen af den nye Rejseplan og giver indsigter i:</a:t>
            </a:r>
          </a:p>
          <a:p>
            <a:pPr marL="171450" indent="-17145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Transportvaner og mobilitet</a:t>
            </a:r>
          </a:p>
          <a:p>
            <a:pPr marL="171450" indent="-17145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Platforme for informationssøgning</a:t>
            </a:r>
          </a:p>
          <a:p>
            <a:pPr marL="171450" indent="-17145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Syn og brug af ny rejseplan</a:t>
            </a:r>
          </a:p>
        </p:txBody>
      </p:sp>
      <p:sp>
        <p:nvSpPr>
          <p:cNvPr id="17" name="Tekstfelt 2">
            <a:extLst>
              <a:ext uri="{FF2B5EF4-FFF2-40B4-BE49-F238E27FC236}">
                <a16:creationId xmlns:a16="http://schemas.microsoft.com/office/drawing/2014/main" id="{17306C14-4385-4315-9A0A-0226F27512C1}"/>
              </a:ext>
            </a:extLst>
          </p:cNvPr>
          <p:cNvSpPr txBox="1"/>
          <p:nvPr/>
        </p:nvSpPr>
        <p:spPr>
          <a:xfrm>
            <a:off x="3679591" y="3042780"/>
            <a:ext cx="3366188" cy="20456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da-DK" sz="1200" b="1" kern="0" dirty="0">
                <a:latin typeface="Calibri" panose="020F0502020204030204" pitchFamily="34" charset="0"/>
                <a:ea typeface="+mn-ea"/>
                <a:cs typeface="+mn-cs"/>
              </a:rPr>
              <a:t>CASE: DSB’S UDVIKLING AF NY MOBILITETSLØSNING</a:t>
            </a:r>
            <a:endParaRPr lang="da-DK" sz="9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Epinion har i samarbejde med DSB undersøgt brugernes mobilitetspræferencer. Fokus var på at identificere og integrere mobilitetsløsninger i kombination med DSB’s eksisterede produkt i form af en togrejse. Fx Lejebil fra station til bestemmelsessted, hvor DSB har ansvar for, formidler og sælger en samlet løsning. Konceptudviklingen gav DSB indsigter omkring:</a:t>
            </a:r>
          </a:p>
          <a:p>
            <a:pPr marL="171450" indent="-17145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Vurdering af relevans og attraktivitet af mobilitetsløsning</a:t>
            </a:r>
          </a:p>
          <a:p>
            <a:pPr marL="171450" indent="-17145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Sandsynlighed for at tilvælge mobilitetsløsningen/ tog i kombination med mobilitetsløsningen</a:t>
            </a:r>
          </a:p>
          <a:p>
            <a:pPr marL="171450" indent="-17145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da-DK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Årsager til fravalg og tilvalg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EDA6097-23B9-4931-B73E-72B41278D0BD}"/>
              </a:ext>
            </a:extLst>
          </p:cNvPr>
          <p:cNvSpPr/>
          <p:nvPr/>
        </p:nvSpPr>
        <p:spPr>
          <a:xfrm>
            <a:off x="7364186" y="733757"/>
            <a:ext cx="1407433" cy="1944128"/>
          </a:xfrm>
          <a:prstGeom prst="roundRect">
            <a:avLst>
              <a:gd name="adj" fmla="val 564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 dirty="0">
                <a:solidFill>
                  <a:schemeClr val="tx1"/>
                </a:solidFill>
              </a:rPr>
              <a:t>Udvikling og ejerskab over platform</a:t>
            </a:r>
          </a:p>
          <a:p>
            <a:pPr algn="ctr"/>
            <a:endParaRPr lang="da-DK" sz="1000" b="1" dirty="0">
              <a:solidFill>
                <a:schemeClr val="tx1"/>
              </a:solidFill>
            </a:endParaRPr>
          </a:p>
          <a:p>
            <a:pPr algn="ctr"/>
            <a:r>
              <a:rPr lang="da-DK" sz="1000" b="1" dirty="0">
                <a:solidFill>
                  <a:schemeClr val="tx1"/>
                </a:solidFill>
              </a:rPr>
              <a:t>Udbyder ét delelement af samlet rejse</a:t>
            </a:r>
          </a:p>
          <a:p>
            <a:pPr algn="ctr"/>
            <a:endParaRPr lang="da-DK" sz="1000" b="1" dirty="0">
              <a:solidFill>
                <a:schemeClr val="tx1"/>
              </a:solidFill>
            </a:endParaRPr>
          </a:p>
          <a:p>
            <a:pPr algn="ctr"/>
            <a:r>
              <a:rPr lang="da-DK" sz="1000" b="1" dirty="0">
                <a:solidFill>
                  <a:schemeClr val="tx1"/>
                </a:solidFill>
              </a:rPr>
              <a:t>Skaber oplyst grundlag for individuel beslutn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2E3108D-5DA2-47CA-B98F-ED9FF82DC97F}"/>
              </a:ext>
            </a:extLst>
          </p:cNvPr>
          <p:cNvGrpSpPr/>
          <p:nvPr/>
        </p:nvGrpSpPr>
        <p:grpSpPr>
          <a:xfrm>
            <a:off x="963625" y="3385371"/>
            <a:ext cx="1782084" cy="1714482"/>
            <a:chOff x="369660" y="2659289"/>
            <a:chExt cx="1908176" cy="2113251"/>
          </a:xfrm>
          <a:solidFill>
            <a:schemeClr val="tx1"/>
          </a:solidFill>
        </p:grpSpPr>
        <p:sp>
          <p:nvSpPr>
            <p:cNvPr id="21" name="Freeform 130">
              <a:extLst>
                <a:ext uri="{FF2B5EF4-FFF2-40B4-BE49-F238E27FC236}">
                  <a16:creationId xmlns:a16="http://schemas.microsoft.com/office/drawing/2014/main" id="{83E4C52C-2EB9-44BB-9B92-3E6DDFF26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499" y="2659289"/>
              <a:ext cx="1509939" cy="1189718"/>
            </a:xfrm>
            <a:custGeom>
              <a:avLst/>
              <a:gdLst>
                <a:gd name="T0" fmla="*/ 198 w 208"/>
                <a:gd name="T1" fmla="*/ 46 h 184"/>
                <a:gd name="T2" fmla="*/ 190 w 208"/>
                <a:gd name="T3" fmla="*/ 48 h 184"/>
                <a:gd name="T4" fmla="*/ 188 w 208"/>
                <a:gd name="T5" fmla="*/ 56 h 184"/>
                <a:gd name="T6" fmla="*/ 150 w 208"/>
                <a:gd name="T7" fmla="*/ 80 h 184"/>
                <a:gd name="T8" fmla="*/ 144 w 208"/>
                <a:gd name="T9" fmla="*/ 78 h 184"/>
                <a:gd name="T10" fmla="*/ 140 w 208"/>
                <a:gd name="T11" fmla="*/ 80 h 184"/>
                <a:gd name="T12" fmla="*/ 134 w 208"/>
                <a:gd name="T13" fmla="*/ 84 h 184"/>
                <a:gd name="T14" fmla="*/ 134 w 208"/>
                <a:gd name="T15" fmla="*/ 88 h 184"/>
                <a:gd name="T16" fmla="*/ 138 w 208"/>
                <a:gd name="T17" fmla="*/ 98 h 184"/>
                <a:gd name="T18" fmla="*/ 110 w 208"/>
                <a:gd name="T19" fmla="*/ 20 h 184"/>
                <a:gd name="T20" fmla="*/ 114 w 208"/>
                <a:gd name="T21" fmla="*/ 16 h 184"/>
                <a:gd name="T22" fmla="*/ 116 w 208"/>
                <a:gd name="T23" fmla="*/ 12 h 184"/>
                <a:gd name="T24" fmla="*/ 112 w 208"/>
                <a:gd name="T25" fmla="*/ 4 h 184"/>
                <a:gd name="T26" fmla="*/ 106 w 208"/>
                <a:gd name="T27" fmla="*/ 0 h 184"/>
                <a:gd name="T28" fmla="*/ 106 w 208"/>
                <a:gd name="T29" fmla="*/ 0 h 184"/>
                <a:gd name="T30" fmla="*/ 104 w 208"/>
                <a:gd name="T31" fmla="*/ 0 h 184"/>
                <a:gd name="T32" fmla="*/ 96 w 208"/>
                <a:gd name="T33" fmla="*/ 4 h 184"/>
                <a:gd name="T34" fmla="*/ 94 w 208"/>
                <a:gd name="T35" fmla="*/ 12 h 184"/>
                <a:gd name="T36" fmla="*/ 94 w 208"/>
                <a:gd name="T37" fmla="*/ 14 h 184"/>
                <a:gd name="T38" fmla="*/ 62 w 208"/>
                <a:gd name="T39" fmla="*/ 78 h 184"/>
                <a:gd name="T40" fmla="*/ 60 w 208"/>
                <a:gd name="T41" fmla="*/ 78 h 184"/>
                <a:gd name="T42" fmla="*/ 50 w 208"/>
                <a:gd name="T43" fmla="*/ 84 h 184"/>
                <a:gd name="T44" fmla="*/ 20 w 208"/>
                <a:gd name="T45" fmla="*/ 84 h 184"/>
                <a:gd name="T46" fmla="*/ 10 w 208"/>
                <a:gd name="T47" fmla="*/ 78 h 184"/>
                <a:gd name="T48" fmla="*/ 6 w 208"/>
                <a:gd name="T49" fmla="*/ 80 h 184"/>
                <a:gd name="T50" fmla="*/ 0 w 208"/>
                <a:gd name="T51" fmla="*/ 84 h 184"/>
                <a:gd name="T52" fmla="*/ 0 w 208"/>
                <a:gd name="T53" fmla="*/ 88 h 184"/>
                <a:gd name="T54" fmla="*/ 4 w 208"/>
                <a:gd name="T55" fmla="*/ 96 h 184"/>
                <a:gd name="T56" fmla="*/ 10 w 208"/>
                <a:gd name="T57" fmla="*/ 100 h 184"/>
                <a:gd name="T58" fmla="*/ 16 w 208"/>
                <a:gd name="T59" fmla="*/ 98 h 184"/>
                <a:gd name="T60" fmla="*/ 50 w 208"/>
                <a:gd name="T61" fmla="*/ 94 h 184"/>
                <a:gd name="T62" fmla="*/ 54 w 208"/>
                <a:gd name="T63" fmla="*/ 98 h 184"/>
                <a:gd name="T64" fmla="*/ 60 w 208"/>
                <a:gd name="T65" fmla="*/ 100 h 184"/>
                <a:gd name="T66" fmla="*/ 68 w 208"/>
                <a:gd name="T67" fmla="*/ 96 h 184"/>
                <a:gd name="T68" fmla="*/ 72 w 208"/>
                <a:gd name="T69" fmla="*/ 88 h 184"/>
                <a:gd name="T70" fmla="*/ 70 w 208"/>
                <a:gd name="T71" fmla="*/ 86 h 184"/>
                <a:gd name="T72" fmla="*/ 102 w 208"/>
                <a:gd name="T73" fmla="*/ 24 h 184"/>
                <a:gd name="T74" fmla="*/ 130 w 208"/>
                <a:gd name="T75" fmla="*/ 164 h 184"/>
                <a:gd name="T76" fmla="*/ 122 w 208"/>
                <a:gd name="T77" fmla="*/ 174 h 184"/>
                <a:gd name="T78" fmla="*/ 124 w 208"/>
                <a:gd name="T79" fmla="*/ 178 h 184"/>
                <a:gd name="T80" fmla="*/ 128 w 208"/>
                <a:gd name="T81" fmla="*/ 184 h 184"/>
                <a:gd name="T82" fmla="*/ 134 w 208"/>
                <a:gd name="T83" fmla="*/ 184 h 184"/>
                <a:gd name="T84" fmla="*/ 140 w 208"/>
                <a:gd name="T85" fmla="*/ 180 h 184"/>
                <a:gd name="T86" fmla="*/ 144 w 208"/>
                <a:gd name="T87" fmla="*/ 174 h 184"/>
                <a:gd name="T88" fmla="*/ 142 w 208"/>
                <a:gd name="T89" fmla="*/ 168 h 184"/>
                <a:gd name="T90" fmla="*/ 146 w 208"/>
                <a:gd name="T91" fmla="*/ 100 h 184"/>
                <a:gd name="T92" fmla="*/ 152 w 208"/>
                <a:gd name="T93" fmla="*/ 96 h 184"/>
                <a:gd name="T94" fmla="*/ 154 w 208"/>
                <a:gd name="T95" fmla="*/ 88 h 184"/>
                <a:gd name="T96" fmla="*/ 192 w 208"/>
                <a:gd name="T97" fmla="*/ 64 h 184"/>
                <a:gd name="T98" fmla="*/ 198 w 208"/>
                <a:gd name="T99" fmla="*/ 66 h 184"/>
                <a:gd name="T100" fmla="*/ 202 w 208"/>
                <a:gd name="T101" fmla="*/ 66 h 184"/>
                <a:gd name="T102" fmla="*/ 208 w 208"/>
                <a:gd name="T103" fmla="*/ 60 h 184"/>
                <a:gd name="T104" fmla="*/ 208 w 208"/>
                <a:gd name="T105" fmla="*/ 56 h 184"/>
                <a:gd name="T106" fmla="*/ 206 w 208"/>
                <a:gd name="T107" fmla="*/ 48 h 184"/>
                <a:gd name="T108" fmla="*/ 198 w 208"/>
                <a:gd name="T109" fmla="*/ 4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184">
                  <a:moveTo>
                    <a:pt x="198" y="46"/>
                  </a:moveTo>
                  <a:lnTo>
                    <a:pt x="198" y="46"/>
                  </a:lnTo>
                  <a:lnTo>
                    <a:pt x="194" y="46"/>
                  </a:lnTo>
                  <a:lnTo>
                    <a:pt x="190" y="48"/>
                  </a:lnTo>
                  <a:lnTo>
                    <a:pt x="188" y="52"/>
                  </a:lnTo>
                  <a:lnTo>
                    <a:pt x="188" y="56"/>
                  </a:lnTo>
                  <a:lnTo>
                    <a:pt x="188" y="5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0" y="80"/>
                  </a:lnTo>
                  <a:lnTo>
                    <a:pt x="136" y="82"/>
                  </a:lnTo>
                  <a:lnTo>
                    <a:pt x="134" y="84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94"/>
                  </a:lnTo>
                  <a:lnTo>
                    <a:pt x="138" y="98"/>
                  </a:lnTo>
                  <a:lnTo>
                    <a:pt x="132" y="132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4" y="16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4" y="8"/>
                  </a:lnTo>
                  <a:lnTo>
                    <a:pt x="112" y="4"/>
                  </a:lnTo>
                  <a:lnTo>
                    <a:pt x="110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0" y="2"/>
                  </a:lnTo>
                  <a:lnTo>
                    <a:pt x="96" y="4"/>
                  </a:lnTo>
                  <a:lnTo>
                    <a:pt x="94" y="8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4"/>
                  </a:lnTo>
                  <a:lnTo>
                    <a:pt x="96" y="18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54" y="80"/>
                  </a:lnTo>
                  <a:lnTo>
                    <a:pt x="5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0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0" y="84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4"/>
                  </a:lnTo>
                  <a:lnTo>
                    <a:pt x="4" y="96"/>
                  </a:lnTo>
                  <a:lnTo>
                    <a:pt x="6" y="98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6" y="98"/>
                  </a:lnTo>
                  <a:lnTo>
                    <a:pt x="2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4" y="98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4" y="98"/>
                  </a:lnTo>
                  <a:lnTo>
                    <a:pt x="68" y="96"/>
                  </a:lnTo>
                  <a:lnTo>
                    <a:pt x="70" y="9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0" y="86"/>
                  </a:lnTo>
                  <a:lnTo>
                    <a:pt x="68" y="82"/>
                  </a:lnTo>
                  <a:lnTo>
                    <a:pt x="102" y="24"/>
                  </a:lnTo>
                  <a:lnTo>
                    <a:pt x="130" y="164"/>
                  </a:lnTo>
                  <a:lnTo>
                    <a:pt x="130" y="164"/>
                  </a:lnTo>
                  <a:lnTo>
                    <a:pt x="124" y="168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4" y="178"/>
                  </a:lnTo>
                  <a:lnTo>
                    <a:pt x="126" y="180"/>
                  </a:lnTo>
                  <a:lnTo>
                    <a:pt x="128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8" y="184"/>
                  </a:lnTo>
                  <a:lnTo>
                    <a:pt x="140" y="180"/>
                  </a:lnTo>
                  <a:lnTo>
                    <a:pt x="142" y="178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2" y="168"/>
                  </a:lnTo>
                  <a:lnTo>
                    <a:pt x="136" y="164"/>
                  </a:lnTo>
                  <a:lnTo>
                    <a:pt x="146" y="100"/>
                  </a:lnTo>
                  <a:lnTo>
                    <a:pt x="146" y="100"/>
                  </a:lnTo>
                  <a:lnTo>
                    <a:pt x="152" y="96"/>
                  </a:lnTo>
                  <a:lnTo>
                    <a:pt x="154" y="92"/>
                  </a:lnTo>
                  <a:lnTo>
                    <a:pt x="154" y="88"/>
                  </a:lnTo>
                  <a:lnTo>
                    <a:pt x="154" y="88"/>
                  </a:lnTo>
                  <a:lnTo>
                    <a:pt x="192" y="64"/>
                  </a:lnTo>
                  <a:lnTo>
                    <a:pt x="192" y="64"/>
                  </a:lnTo>
                  <a:lnTo>
                    <a:pt x="198" y="66"/>
                  </a:lnTo>
                  <a:lnTo>
                    <a:pt x="198" y="66"/>
                  </a:lnTo>
                  <a:lnTo>
                    <a:pt x="202" y="66"/>
                  </a:lnTo>
                  <a:lnTo>
                    <a:pt x="206" y="64"/>
                  </a:lnTo>
                  <a:lnTo>
                    <a:pt x="208" y="60"/>
                  </a:lnTo>
                  <a:lnTo>
                    <a:pt x="208" y="56"/>
                  </a:lnTo>
                  <a:lnTo>
                    <a:pt x="208" y="56"/>
                  </a:lnTo>
                  <a:lnTo>
                    <a:pt x="208" y="52"/>
                  </a:lnTo>
                  <a:lnTo>
                    <a:pt x="206" y="48"/>
                  </a:lnTo>
                  <a:lnTo>
                    <a:pt x="202" y="46"/>
                  </a:lnTo>
                  <a:lnTo>
                    <a:pt x="198" y="46"/>
                  </a:lnTo>
                  <a:lnTo>
                    <a:pt x="19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30">
              <a:extLst>
                <a:ext uri="{FF2B5EF4-FFF2-40B4-BE49-F238E27FC236}">
                  <a16:creationId xmlns:a16="http://schemas.microsoft.com/office/drawing/2014/main" id="{F9F504C3-69B3-4269-89ED-0FD61DC26ACC}"/>
                </a:ext>
              </a:extLst>
            </p:cNvPr>
            <p:cNvSpPr>
              <a:spLocks/>
            </p:cNvSpPr>
            <p:nvPr/>
          </p:nvSpPr>
          <p:spPr bwMode="auto">
            <a:xfrm rot="17529276">
              <a:off x="209549" y="3397897"/>
              <a:ext cx="1509939" cy="1189718"/>
            </a:xfrm>
            <a:custGeom>
              <a:avLst/>
              <a:gdLst>
                <a:gd name="T0" fmla="*/ 198 w 208"/>
                <a:gd name="T1" fmla="*/ 46 h 184"/>
                <a:gd name="T2" fmla="*/ 190 w 208"/>
                <a:gd name="T3" fmla="*/ 48 h 184"/>
                <a:gd name="T4" fmla="*/ 188 w 208"/>
                <a:gd name="T5" fmla="*/ 56 h 184"/>
                <a:gd name="T6" fmla="*/ 150 w 208"/>
                <a:gd name="T7" fmla="*/ 80 h 184"/>
                <a:gd name="T8" fmla="*/ 144 w 208"/>
                <a:gd name="T9" fmla="*/ 78 h 184"/>
                <a:gd name="T10" fmla="*/ 140 w 208"/>
                <a:gd name="T11" fmla="*/ 80 h 184"/>
                <a:gd name="T12" fmla="*/ 134 w 208"/>
                <a:gd name="T13" fmla="*/ 84 h 184"/>
                <a:gd name="T14" fmla="*/ 134 w 208"/>
                <a:gd name="T15" fmla="*/ 88 h 184"/>
                <a:gd name="T16" fmla="*/ 138 w 208"/>
                <a:gd name="T17" fmla="*/ 98 h 184"/>
                <a:gd name="T18" fmla="*/ 110 w 208"/>
                <a:gd name="T19" fmla="*/ 20 h 184"/>
                <a:gd name="T20" fmla="*/ 114 w 208"/>
                <a:gd name="T21" fmla="*/ 16 h 184"/>
                <a:gd name="T22" fmla="*/ 116 w 208"/>
                <a:gd name="T23" fmla="*/ 12 h 184"/>
                <a:gd name="T24" fmla="*/ 112 w 208"/>
                <a:gd name="T25" fmla="*/ 4 h 184"/>
                <a:gd name="T26" fmla="*/ 106 w 208"/>
                <a:gd name="T27" fmla="*/ 0 h 184"/>
                <a:gd name="T28" fmla="*/ 106 w 208"/>
                <a:gd name="T29" fmla="*/ 0 h 184"/>
                <a:gd name="T30" fmla="*/ 104 w 208"/>
                <a:gd name="T31" fmla="*/ 0 h 184"/>
                <a:gd name="T32" fmla="*/ 96 w 208"/>
                <a:gd name="T33" fmla="*/ 4 h 184"/>
                <a:gd name="T34" fmla="*/ 94 w 208"/>
                <a:gd name="T35" fmla="*/ 12 h 184"/>
                <a:gd name="T36" fmla="*/ 94 w 208"/>
                <a:gd name="T37" fmla="*/ 14 h 184"/>
                <a:gd name="T38" fmla="*/ 62 w 208"/>
                <a:gd name="T39" fmla="*/ 78 h 184"/>
                <a:gd name="T40" fmla="*/ 60 w 208"/>
                <a:gd name="T41" fmla="*/ 78 h 184"/>
                <a:gd name="T42" fmla="*/ 50 w 208"/>
                <a:gd name="T43" fmla="*/ 84 h 184"/>
                <a:gd name="T44" fmla="*/ 20 w 208"/>
                <a:gd name="T45" fmla="*/ 84 h 184"/>
                <a:gd name="T46" fmla="*/ 10 w 208"/>
                <a:gd name="T47" fmla="*/ 78 h 184"/>
                <a:gd name="T48" fmla="*/ 6 w 208"/>
                <a:gd name="T49" fmla="*/ 80 h 184"/>
                <a:gd name="T50" fmla="*/ 0 w 208"/>
                <a:gd name="T51" fmla="*/ 84 h 184"/>
                <a:gd name="T52" fmla="*/ 0 w 208"/>
                <a:gd name="T53" fmla="*/ 88 h 184"/>
                <a:gd name="T54" fmla="*/ 4 w 208"/>
                <a:gd name="T55" fmla="*/ 96 h 184"/>
                <a:gd name="T56" fmla="*/ 10 w 208"/>
                <a:gd name="T57" fmla="*/ 100 h 184"/>
                <a:gd name="T58" fmla="*/ 16 w 208"/>
                <a:gd name="T59" fmla="*/ 98 h 184"/>
                <a:gd name="T60" fmla="*/ 50 w 208"/>
                <a:gd name="T61" fmla="*/ 94 h 184"/>
                <a:gd name="T62" fmla="*/ 54 w 208"/>
                <a:gd name="T63" fmla="*/ 98 h 184"/>
                <a:gd name="T64" fmla="*/ 60 w 208"/>
                <a:gd name="T65" fmla="*/ 100 h 184"/>
                <a:gd name="T66" fmla="*/ 68 w 208"/>
                <a:gd name="T67" fmla="*/ 96 h 184"/>
                <a:gd name="T68" fmla="*/ 72 w 208"/>
                <a:gd name="T69" fmla="*/ 88 h 184"/>
                <a:gd name="T70" fmla="*/ 70 w 208"/>
                <a:gd name="T71" fmla="*/ 86 h 184"/>
                <a:gd name="T72" fmla="*/ 102 w 208"/>
                <a:gd name="T73" fmla="*/ 24 h 184"/>
                <a:gd name="T74" fmla="*/ 130 w 208"/>
                <a:gd name="T75" fmla="*/ 164 h 184"/>
                <a:gd name="T76" fmla="*/ 122 w 208"/>
                <a:gd name="T77" fmla="*/ 174 h 184"/>
                <a:gd name="T78" fmla="*/ 124 w 208"/>
                <a:gd name="T79" fmla="*/ 178 h 184"/>
                <a:gd name="T80" fmla="*/ 128 w 208"/>
                <a:gd name="T81" fmla="*/ 184 h 184"/>
                <a:gd name="T82" fmla="*/ 134 w 208"/>
                <a:gd name="T83" fmla="*/ 184 h 184"/>
                <a:gd name="T84" fmla="*/ 140 w 208"/>
                <a:gd name="T85" fmla="*/ 180 h 184"/>
                <a:gd name="T86" fmla="*/ 144 w 208"/>
                <a:gd name="T87" fmla="*/ 174 h 184"/>
                <a:gd name="T88" fmla="*/ 142 w 208"/>
                <a:gd name="T89" fmla="*/ 168 h 184"/>
                <a:gd name="T90" fmla="*/ 146 w 208"/>
                <a:gd name="T91" fmla="*/ 100 h 184"/>
                <a:gd name="T92" fmla="*/ 152 w 208"/>
                <a:gd name="T93" fmla="*/ 96 h 184"/>
                <a:gd name="T94" fmla="*/ 154 w 208"/>
                <a:gd name="T95" fmla="*/ 88 h 184"/>
                <a:gd name="T96" fmla="*/ 192 w 208"/>
                <a:gd name="T97" fmla="*/ 64 h 184"/>
                <a:gd name="T98" fmla="*/ 198 w 208"/>
                <a:gd name="T99" fmla="*/ 66 h 184"/>
                <a:gd name="T100" fmla="*/ 202 w 208"/>
                <a:gd name="T101" fmla="*/ 66 h 184"/>
                <a:gd name="T102" fmla="*/ 208 w 208"/>
                <a:gd name="T103" fmla="*/ 60 h 184"/>
                <a:gd name="T104" fmla="*/ 208 w 208"/>
                <a:gd name="T105" fmla="*/ 56 h 184"/>
                <a:gd name="T106" fmla="*/ 206 w 208"/>
                <a:gd name="T107" fmla="*/ 48 h 184"/>
                <a:gd name="T108" fmla="*/ 198 w 208"/>
                <a:gd name="T109" fmla="*/ 4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184">
                  <a:moveTo>
                    <a:pt x="198" y="46"/>
                  </a:moveTo>
                  <a:lnTo>
                    <a:pt x="198" y="46"/>
                  </a:lnTo>
                  <a:lnTo>
                    <a:pt x="194" y="46"/>
                  </a:lnTo>
                  <a:lnTo>
                    <a:pt x="190" y="48"/>
                  </a:lnTo>
                  <a:lnTo>
                    <a:pt x="188" y="52"/>
                  </a:lnTo>
                  <a:lnTo>
                    <a:pt x="188" y="56"/>
                  </a:lnTo>
                  <a:lnTo>
                    <a:pt x="188" y="5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0" y="80"/>
                  </a:lnTo>
                  <a:lnTo>
                    <a:pt x="136" y="82"/>
                  </a:lnTo>
                  <a:lnTo>
                    <a:pt x="134" y="84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94"/>
                  </a:lnTo>
                  <a:lnTo>
                    <a:pt x="138" y="98"/>
                  </a:lnTo>
                  <a:lnTo>
                    <a:pt x="132" y="132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4" y="16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4" y="8"/>
                  </a:lnTo>
                  <a:lnTo>
                    <a:pt x="112" y="4"/>
                  </a:lnTo>
                  <a:lnTo>
                    <a:pt x="110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0" y="2"/>
                  </a:lnTo>
                  <a:lnTo>
                    <a:pt x="96" y="4"/>
                  </a:lnTo>
                  <a:lnTo>
                    <a:pt x="94" y="8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4"/>
                  </a:lnTo>
                  <a:lnTo>
                    <a:pt x="96" y="18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54" y="80"/>
                  </a:lnTo>
                  <a:lnTo>
                    <a:pt x="5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0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0" y="84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4"/>
                  </a:lnTo>
                  <a:lnTo>
                    <a:pt x="4" y="96"/>
                  </a:lnTo>
                  <a:lnTo>
                    <a:pt x="6" y="98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6" y="98"/>
                  </a:lnTo>
                  <a:lnTo>
                    <a:pt x="2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4" y="98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4" y="98"/>
                  </a:lnTo>
                  <a:lnTo>
                    <a:pt x="68" y="96"/>
                  </a:lnTo>
                  <a:lnTo>
                    <a:pt x="70" y="9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0" y="86"/>
                  </a:lnTo>
                  <a:lnTo>
                    <a:pt x="68" y="82"/>
                  </a:lnTo>
                  <a:lnTo>
                    <a:pt x="102" y="24"/>
                  </a:lnTo>
                  <a:lnTo>
                    <a:pt x="130" y="164"/>
                  </a:lnTo>
                  <a:lnTo>
                    <a:pt x="130" y="164"/>
                  </a:lnTo>
                  <a:lnTo>
                    <a:pt x="124" y="168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4" y="178"/>
                  </a:lnTo>
                  <a:lnTo>
                    <a:pt x="126" y="180"/>
                  </a:lnTo>
                  <a:lnTo>
                    <a:pt x="128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8" y="184"/>
                  </a:lnTo>
                  <a:lnTo>
                    <a:pt x="140" y="180"/>
                  </a:lnTo>
                  <a:lnTo>
                    <a:pt x="142" y="178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2" y="168"/>
                  </a:lnTo>
                  <a:lnTo>
                    <a:pt x="136" y="164"/>
                  </a:lnTo>
                  <a:lnTo>
                    <a:pt x="146" y="100"/>
                  </a:lnTo>
                  <a:lnTo>
                    <a:pt x="146" y="100"/>
                  </a:lnTo>
                  <a:lnTo>
                    <a:pt x="152" y="96"/>
                  </a:lnTo>
                  <a:lnTo>
                    <a:pt x="154" y="92"/>
                  </a:lnTo>
                  <a:lnTo>
                    <a:pt x="154" y="88"/>
                  </a:lnTo>
                  <a:lnTo>
                    <a:pt x="154" y="88"/>
                  </a:lnTo>
                  <a:lnTo>
                    <a:pt x="192" y="64"/>
                  </a:lnTo>
                  <a:lnTo>
                    <a:pt x="192" y="64"/>
                  </a:lnTo>
                  <a:lnTo>
                    <a:pt x="198" y="66"/>
                  </a:lnTo>
                  <a:lnTo>
                    <a:pt x="198" y="66"/>
                  </a:lnTo>
                  <a:lnTo>
                    <a:pt x="202" y="66"/>
                  </a:lnTo>
                  <a:lnTo>
                    <a:pt x="206" y="64"/>
                  </a:lnTo>
                  <a:lnTo>
                    <a:pt x="208" y="60"/>
                  </a:lnTo>
                  <a:lnTo>
                    <a:pt x="208" y="56"/>
                  </a:lnTo>
                  <a:lnTo>
                    <a:pt x="208" y="56"/>
                  </a:lnTo>
                  <a:lnTo>
                    <a:pt x="208" y="52"/>
                  </a:lnTo>
                  <a:lnTo>
                    <a:pt x="206" y="48"/>
                  </a:lnTo>
                  <a:lnTo>
                    <a:pt x="202" y="46"/>
                  </a:lnTo>
                  <a:lnTo>
                    <a:pt x="198" y="46"/>
                  </a:lnTo>
                  <a:lnTo>
                    <a:pt x="19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30">
              <a:extLst>
                <a:ext uri="{FF2B5EF4-FFF2-40B4-BE49-F238E27FC236}">
                  <a16:creationId xmlns:a16="http://schemas.microsoft.com/office/drawing/2014/main" id="{EE6E015E-986B-46EF-99F4-D71E00082A9B}"/>
                </a:ext>
              </a:extLst>
            </p:cNvPr>
            <p:cNvSpPr>
              <a:spLocks/>
            </p:cNvSpPr>
            <p:nvPr/>
          </p:nvSpPr>
          <p:spPr bwMode="auto">
            <a:xfrm rot="14467392">
              <a:off x="928007" y="3422712"/>
              <a:ext cx="1509939" cy="1189718"/>
            </a:xfrm>
            <a:custGeom>
              <a:avLst/>
              <a:gdLst>
                <a:gd name="T0" fmla="*/ 198 w 208"/>
                <a:gd name="T1" fmla="*/ 46 h 184"/>
                <a:gd name="T2" fmla="*/ 190 w 208"/>
                <a:gd name="T3" fmla="*/ 48 h 184"/>
                <a:gd name="T4" fmla="*/ 188 w 208"/>
                <a:gd name="T5" fmla="*/ 56 h 184"/>
                <a:gd name="T6" fmla="*/ 150 w 208"/>
                <a:gd name="T7" fmla="*/ 80 h 184"/>
                <a:gd name="T8" fmla="*/ 144 w 208"/>
                <a:gd name="T9" fmla="*/ 78 h 184"/>
                <a:gd name="T10" fmla="*/ 140 w 208"/>
                <a:gd name="T11" fmla="*/ 80 h 184"/>
                <a:gd name="T12" fmla="*/ 134 w 208"/>
                <a:gd name="T13" fmla="*/ 84 h 184"/>
                <a:gd name="T14" fmla="*/ 134 w 208"/>
                <a:gd name="T15" fmla="*/ 88 h 184"/>
                <a:gd name="T16" fmla="*/ 138 w 208"/>
                <a:gd name="T17" fmla="*/ 98 h 184"/>
                <a:gd name="T18" fmla="*/ 110 w 208"/>
                <a:gd name="T19" fmla="*/ 20 h 184"/>
                <a:gd name="T20" fmla="*/ 114 w 208"/>
                <a:gd name="T21" fmla="*/ 16 h 184"/>
                <a:gd name="T22" fmla="*/ 116 w 208"/>
                <a:gd name="T23" fmla="*/ 12 h 184"/>
                <a:gd name="T24" fmla="*/ 112 w 208"/>
                <a:gd name="T25" fmla="*/ 4 h 184"/>
                <a:gd name="T26" fmla="*/ 106 w 208"/>
                <a:gd name="T27" fmla="*/ 0 h 184"/>
                <a:gd name="T28" fmla="*/ 106 w 208"/>
                <a:gd name="T29" fmla="*/ 0 h 184"/>
                <a:gd name="T30" fmla="*/ 104 w 208"/>
                <a:gd name="T31" fmla="*/ 0 h 184"/>
                <a:gd name="T32" fmla="*/ 96 w 208"/>
                <a:gd name="T33" fmla="*/ 4 h 184"/>
                <a:gd name="T34" fmla="*/ 94 w 208"/>
                <a:gd name="T35" fmla="*/ 12 h 184"/>
                <a:gd name="T36" fmla="*/ 94 w 208"/>
                <a:gd name="T37" fmla="*/ 14 h 184"/>
                <a:gd name="T38" fmla="*/ 62 w 208"/>
                <a:gd name="T39" fmla="*/ 78 h 184"/>
                <a:gd name="T40" fmla="*/ 60 w 208"/>
                <a:gd name="T41" fmla="*/ 78 h 184"/>
                <a:gd name="T42" fmla="*/ 50 w 208"/>
                <a:gd name="T43" fmla="*/ 84 h 184"/>
                <a:gd name="T44" fmla="*/ 20 w 208"/>
                <a:gd name="T45" fmla="*/ 84 h 184"/>
                <a:gd name="T46" fmla="*/ 10 w 208"/>
                <a:gd name="T47" fmla="*/ 78 h 184"/>
                <a:gd name="T48" fmla="*/ 6 w 208"/>
                <a:gd name="T49" fmla="*/ 80 h 184"/>
                <a:gd name="T50" fmla="*/ 0 w 208"/>
                <a:gd name="T51" fmla="*/ 84 h 184"/>
                <a:gd name="T52" fmla="*/ 0 w 208"/>
                <a:gd name="T53" fmla="*/ 88 h 184"/>
                <a:gd name="T54" fmla="*/ 4 w 208"/>
                <a:gd name="T55" fmla="*/ 96 h 184"/>
                <a:gd name="T56" fmla="*/ 10 w 208"/>
                <a:gd name="T57" fmla="*/ 100 h 184"/>
                <a:gd name="T58" fmla="*/ 16 w 208"/>
                <a:gd name="T59" fmla="*/ 98 h 184"/>
                <a:gd name="T60" fmla="*/ 50 w 208"/>
                <a:gd name="T61" fmla="*/ 94 h 184"/>
                <a:gd name="T62" fmla="*/ 54 w 208"/>
                <a:gd name="T63" fmla="*/ 98 h 184"/>
                <a:gd name="T64" fmla="*/ 60 w 208"/>
                <a:gd name="T65" fmla="*/ 100 h 184"/>
                <a:gd name="T66" fmla="*/ 68 w 208"/>
                <a:gd name="T67" fmla="*/ 96 h 184"/>
                <a:gd name="T68" fmla="*/ 72 w 208"/>
                <a:gd name="T69" fmla="*/ 88 h 184"/>
                <a:gd name="T70" fmla="*/ 70 w 208"/>
                <a:gd name="T71" fmla="*/ 86 h 184"/>
                <a:gd name="T72" fmla="*/ 102 w 208"/>
                <a:gd name="T73" fmla="*/ 24 h 184"/>
                <a:gd name="T74" fmla="*/ 130 w 208"/>
                <a:gd name="T75" fmla="*/ 164 h 184"/>
                <a:gd name="T76" fmla="*/ 122 w 208"/>
                <a:gd name="T77" fmla="*/ 174 h 184"/>
                <a:gd name="T78" fmla="*/ 124 w 208"/>
                <a:gd name="T79" fmla="*/ 178 h 184"/>
                <a:gd name="T80" fmla="*/ 128 w 208"/>
                <a:gd name="T81" fmla="*/ 184 h 184"/>
                <a:gd name="T82" fmla="*/ 134 w 208"/>
                <a:gd name="T83" fmla="*/ 184 h 184"/>
                <a:gd name="T84" fmla="*/ 140 w 208"/>
                <a:gd name="T85" fmla="*/ 180 h 184"/>
                <a:gd name="T86" fmla="*/ 144 w 208"/>
                <a:gd name="T87" fmla="*/ 174 h 184"/>
                <a:gd name="T88" fmla="*/ 142 w 208"/>
                <a:gd name="T89" fmla="*/ 168 h 184"/>
                <a:gd name="T90" fmla="*/ 146 w 208"/>
                <a:gd name="T91" fmla="*/ 100 h 184"/>
                <a:gd name="T92" fmla="*/ 152 w 208"/>
                <a:gd name="T93" fmla="*/ 96 h 184"/>
                <a:gd name="T94" fmla="*/ 154 w 208"/>
                <a:gd name="T95" fmla="*/ 88 h 184"/>
                <a:gd name="T96" fmla="*/ 192 w 208"/>
                <a:gd name="T97" fmla="*/ 64 h 184"/>
                <a:gd name="T98" fmla="*/ 198 w 208"/>
                <a:gd name="T99" fmla="*/ 66 h 184"/>
                <a:gd name="T100" fmla="*/ 202 w 208"/>
                <a:gd name="T101" fmla="*/ 66 h 184"/>
                <a:gd name="T102" fmla="*/ 208 w 208"/>
                <a:gd name="T103" fmla="*/ 60 h 184"/>
                <a:gd name="T104" fmla="*/ 208 w 208"/>
                <a:gd name="T105" fmla="*/ 56 h 184"/>
                <a:gd name="T106" fmla="*/ 206 w 208"/>
                <a:gd name="T107" fmla="*/ 48 h 184"/>
                <a:gd name="T108" fmla="*/ 198 w 208"/>
                <a:gd name="T109" fmla="*/ 4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" h="184">
                  <a:moveTo>
                    <a:pt x="198" y="46"/>
                  </a:moveTo>
                  <a:lnTo>
                    <a:pt x="198" y="46"/>
                  </a:lnTo>
                  <a:lnTo>
                    <a:pt x="194" y="46"/>
                  </a:lnTo>
                  <a:lnTo>
                    <a:pt x="190" y="48"/>
                  </a:lnTo>
                  <a:lnTo>
                    <a:pt x="188" y="52"/>
                  </a:lnTo>
                  <a:lnTo>
                    <a:pt x="188" y="56"/>
                  </a:lnTo>
                  <a:lnTo>
                    <a:pt x="188" y="5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44" y="78"/>
                  </a:lnTo>
                  <a:lnTo>
                    <a:pt x="144" y="78"/>
                  </a:lnTo>
                  <a:lnTo>
                    <a:pt x="140" y="80"/>
                  </a:lnTo>
                  <a:lnTo>
                    <a:pt x="136" y="82"/>
                  </a:lnTo>
                  <a:lnTo>
                    <a:pt x="134" y="84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94"/>
                  </a:lnTo>
                  <a:lnTo>
                    <a:pt x="138" y="98"/>
                  </a:lnTo>
                  <a:lnTo>
                    <a:pt x="132" y="132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4" y="16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4" y="8"/>
                  </a:lnTo>
                  <a:lnTo>
                    <a:pt x="112" y="4"/>
                  </a:lnTo>
                  <a:lnTo>
                    <a:pt x="110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0" y="2"/>
                  </a:lnTo>
                  <a:lnTo>
                    <a:pt x="96" y="4"/>
                  </a:lnTo>
                  <a:lnTo>
                    <a:pt x="94" y="8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4"/>
                  </a:lnTo>
                  <a:lnTo>
                    <a:pt x="96" y="18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54" y="80"/>
                  </a:lnTo>
                  <a:lnTo>
                    <a:pt x="5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0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0" y="84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4"/>
                  </a:lnTo>
                  <a:lnTo>
                    <a:pt x="4" y="96"/>
                  </a:lnTo>
                  <a:lnTo>
                    <a:pt x="6" y="98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6" y="98"/>
                  </a:lnTo>
                  <a:lnTo>
                    <a:pt x="2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4" y="98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4" y="98"/>
                  </a:lnTo>
                  <a:lnTo>
                    <a:pt x="68" y="96"/>
                  </a:lnTo>
                  <a:lnTo>
                    <a:pt x="70" y="9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0" y="86"/>
                  </a:lnTo>
                  <a:lnTo>
                    <a:pt x="68" y="82"/>
                  </a:lnTo>
                  <a:lnTo>
                    <a:pt x="102" y="24"/>
                  </a:lnTo>
                  <a:lnTo>
                    <a:pt x="130" y="164"/>
                  </a:lnTo>
                  <a:lnTo>
                    <a:pt x="130" y="164"/>
                  </a:lnTo>
                  <a:lnTo>
                    <a:pt x="124" y="168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4" y="178"/>
                  </a:lnTo>
                  <a:lnTo>
                    <a:pt x="126" y="180"/>
                  </a:lnTo>
                  <a:lnTo>
                    <a:pt x="128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8" y="184"/>
                  </a:lnTo>
                  <a:lnTo>
                    <a:pt x="140" y="180"/>
                  </a:lnTo>
                  <a:lnTo>
                    <a:pt x="142" y="178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2" y="168"/>
                  </a:lnTo>
                  <a:lnTo>
                    <a:pt x="136" y="164"/>
                  </a:lnTo>
                  <a:lnTo>
                    <a:pt x="146" y="100"/>
                  </a:lnTo>
                  <a:lnTo>
                    <a:pt x="146" y="100"/>
                  </a:lnTo>
                  <a:lnTo>
                    <a:pt x="152" y="96"/>
                  </a:lnTo>
                  <a:lnTo>
                    <a:pt x="154" y="92"/>
                  </a:lnTo>
                  <a:lnTo>
                    <a:pt x="154" y="88"/>
                  </a:lnTo>
                  <a:lnTo>
                    <a:pt x="154" y="88"/>
                  </a:lnTo>
                  <a:lnTo>
                    <a:pt x="192" y="64"/>
                  </a:lnTo>
                  <a:lnTo>
                    <a:pt x="192" y="64"/>
                  </a:lnTo>
                  <a:lnTo>
                    <a:pt x="198" y="66"/>
                  </a:lnTo>
                  <a:lnTo>
                    <a:pt x="198" y="66"/>
                  </a:lnTo>
                  <a:lnTo>
                    <a:pt x="202" y="66"/>
                  </a:lnTo>
                  <a:lnTo>
                    <a:pt x="206" y="64"/>
                  </a:lnTo>
                  <a:lnTo>
                    <a:pt x="208" y="60"/>
                  </a:lnTo>
                  <a:lnTo>
                    <a:pt x="208" y="56"/>
                  </a:lnTo>
                  <a:lnTo>
                    <a:pt x="208" y="56"/>
                  </a:lnTo>
                  <a:lnTo>
                    <a:pt x="208" y="52"/>
                  </a:lnTo>
                  <a:lnTo>
                    <a:pt x="206" y="48"/>
                  </a:lnTo>
                  <a:lnTo>
                    <a:pt x="202" y="46"/>
                  </a:lnTo>
                  <a:lnTo>
                    <a:pt x="198" y="46"/>
                  </a:lnTo>
                  <a:lnTo>
                    <a:pt x="19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Tekstfelt 2">
            <a:extLst>
              <a:ext uri="{FF2B5EF4-FFF2-40B4-BE49-F238E27FC236}">
                <a16:creationId xmlns:a16="http://schemas.microsoft.com/office/drawing/2014/main" id="{449FEA5A-9CCB-43EA-9B35-D414C2128736}"/>
              </a:ext>
            </a:extLst>
          </p:cNvPr>
          <p:cNvSpPr txBox="1"/>
          <p:nvPr/>
        </p:nvSpPr>
        <p:spPr>
          <a:xfrm>
            <a:off x="263724" y="1640237"/>
            <a:ext cx="2870449" cy="1052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nb-NO" sz="1200" dirty="0">
                <a:latin typeface="Calibri" panose="020F0502020204030204" pitchFamily="34" charset="0"/>
                <a:cs typeface="Calibri" panose="020F0502020204030204" pitchFamily="34" charset="0"/>
              </a:rPr>
              <a:t>Mobilitetsmarkedet påvirkes af urbanisering, digitalisering og individualisering. Epinion hjælper (kollektive)transportselskaber med at blive mobilitetsaktører ved at forstå individets rejse- og mobilitetsbehov.</a:t>
            </a:r>
            <a:endParaRPr lang="da-DK" sz="7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A5FB4F93-695F-499A-9AF0-45CFAA59591C}"/>
              </a:ext>
            </a:extLst>
          </p:cNvPr>
          <p:cNvSpPr/>
          <p:nvPr/>
        </p:nvSpPr>
        <p:spPr>
          <a:xfrm>
            <a:off x="7364185" y="3042780"/>
            <a:ext cx="1407433" cy="1944128"/>
          </a:xfrm>
          <a:prstGeom prst="roundRect">
            <a:avLst>
              <a:gd name="adj" fmla="val 564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 dirty="0">
                <a:solidFill>
                  <a:schemeClr val="tx1"/>
                </a:solidFill>
              </a:rPr>
              <a:t>Integration af mobilitetsløsning i eksisterende produkter</a:t>
            </a:r>
          </a:p>
          <a:p>
            <a:pPr algn="ctr"/>
            <a:endParaRPr lang="da-DK" sz="1000" b="1" dirty="0">
              <a:solidFill>
                <a:schemeClr val="tx1"/>
              </a:solidFill>
            </a:endParaRPr>
          </a:p>
          <a:p>
            <a:pPr algn="ctr"/>
            <a:r>
              <a:rPr lang="da-DK" sz="1000" b="1" dirty="0">
                <a:solidFill>
                  <a:schemeClr val="tx1"/>
                </a:solidFill>
              </a:rPr>
              <a:t>Skræddersyet </a:t>
            </a:r>
            <a:r>
              <a:rPr lang="da-DK" sz="1000" b="1" u="sng" dirty="0">
                <a:solidFill>
                  <a:schemeClr val="tx1"/>
                </a:solidFill>
              </a:rPr>
              <a:t>samlet</a:t>
            </a:r>
            <a:r>
              <a:rPr lang="da-DK" sz="1000" b="1" dirty="0">
                <a:solidFill>
                  <a:schemeClr val="tx1"/>
                </a:solidFill>
              </a:rPr>
              <a:t> løsn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58B137-1AE1-4AFF-B9B2-FE14626A7344}"/>
              </a:ext>
            </a:extLst>
          </p:cNvPr>
          <p:cNvSpPr txBox="1"/>
          <p:nvPr/>
        </p:nvSpPr>
        <p:spPr>
          <a:xfrm>
            <a:off x="270422" y="2942366"/>
            <a:ext cx="2959668" cy="2105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da-DK" sz="1200" b="1" dirty="0">
                <a:latin typeface="Calibri" panose="020F0502020204030204" pitchFamily="34" charset="0"/>
                <a:cs typeface="Calibri" panose="020F0502020204030204" pitchFamily="34" charset="0"/>
              </a:rPr>
              <a:t>KOMPLEKSE REJSEVANER KRÆVER MOBILITET:</a:t>
            </a:r>
          </a:p>
        </p:txBody>
      </p:sp>
    </p:spTree>
    <p:extLst>
      <p:ext uri="{BB962C8B-B14F-4D97-AF65-F5344CB8AC3E}">
        <p14:creationId xmlns:p14="http://schemas.microsoft.com/office/powerpoint/2010/main" val="808719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553904-2762-4A6C-AA7E-B6B5DB2E9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7164" y="576072"/>
            <a:ext cx="5180040" cy="603504"/>
          </a:xfrm>
        </p:spPr>
        <p:txBody>
          <a:bodyPr/>
          <a:lstStyle/>
          <a:p>
            <a:pPr marL="0" lvl="5" defTabSz="810433">
              <a:spcBef>
                <a:spcPts val="200"/>
              </a:spcBef>
              <a:spcAft>
                <a:spcPts val="600"/>
              </a:spcAft>
              <a:defRPr/>
            </a:pPr>
            <a:r>
              <a:rPr lang="da-DK" b="1" dirty="0">
                <a:latin typeface="Purista" pitchFamily="50" charset="0"/>
                <a:cs typeface="Calibri" panose="020F0502020204030204" pitchFamily="34" charset="0"/>
              </a:rPr>
              <a:t>MOBILITET ER FREMTIDEN OG BRUGERINDSIGTER ER ESSENTIELLE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D72F62BE-B79A-4BA8-8ACD-168393974D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8104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700" cap="all" spc="2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fld id="{DE0CD65C-5600-3243-B8FF-DA4DAD8CA31A}" type="slidenum">
              <a:rPr kumimoji="0" lang="en-US" sz="700" b="0" i="0" u="none" strike="noStrike" kern="700" cap="all" spc="20" normalizeH="0" baseline="0" noProof="0" smtClean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810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700" cap="all" spc="20" normalizeH="0" baseline="0" noProof="0">
              <a:ln>
                <a:noFill/>
              </a:ln>
              <a:solidFill>
                <a:srgbClr val="808285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0036CDD-591B-4EB5-9E95-F65A822E2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49864" y="1414962"/>
            <a:ext cx="3612243" cy="4046830"/>
          </a:xfrm>
        </p:spPr>
        <p:txBody>
          <a:bodyPr/>
          <a:lstStyle/>
          <a:p>
            <a:pPr marL="0" indent="0">
              <a:lnSpc>
                <a:spcPct val="100000"/>
              </a:lnSpc>
              <a:spcAft>
                <a:spcPts val="200"/>
              </a:spcAft>
              <a:buNone/>
            </a:pPr>
            <a:r>
              <a:rPr lang="da-DK" sz="1200" dirty="0"/>
              <a:t>Individers rejsemønstre i dag er præget af ønsket om </a:t>
            </a:r>
            <a:r>
              <a:rPr lang="da-DK" sz="1200" b="1" dirty="0">
                <a:solidFill>
                  <a:schemeClr val="tx2"/>
                </a:solidFill>
              </a:rPr>
              <a:t>mobilitet samt fleksible og individcentrerede løsninger.</a:t>
            </a:r>
            <a:r>
              <a:rPr lang="da-DK" sz="1200" dirty="0"/>
              <a:t> Forståelse for individets behov er derfor afgørende for at opretholde den kollektive transport.</a:t>
            </a:r>
            <a:br>
              <a:rPr lang="da-DK" sz="1200" b="1" dirty="0">
                <a:solidFill>
                  <a:schemeClr val="tx2"/>
                </a:solidFill>
              </a:rPr>
            </a:br>
            <a:br>
              <a:rPr lang="da-DK" sz="1200" b="1" dirty="0">
                <a:solidFill>
                  <a:schemeClr val="tx2"/>
                </a:solidFill>
              </a:rPr>
            </a:br>
            <a:r>
              <a:rPr lang="da-DK" sz="1200" dirty="0"/>
              <a:t>De kollektive transportselskabers</a:t>
            </a:r>
            <a:r>
              <a:rPr lang="da-DK" sz="1200" b="1" dirty="0">
                <a:solidFill>
                  <a:schemeClr val="tx2"/>
                </a:solidFill>
              </a:rPr>
              <a:t> </a:t>
            </a:r>
            <a:r>
              <a:rPr lang="da-DK" sz="1200" dirty="0"/>
              <a:t>nuværende og fremtidige opgaver er derfor at tage stilling til og udnytte de nye transportmuligheder som teknologien og innovationen har bragt, hvilket kræver </a:t>
            </a:r>
            <a:r>
              <a:rPr lang="da-DK" sz="1200" b="1" dirty="0">
                <a:solidFill>
                  <a:schemeClr val="tx2"/>
                </a:solidFill>
              </a:rPr>
              <a:t>indsigt i brugernes individuelle behov.</a:t>
            </a:r>
            <a:br>
              <a:rPr lang="da-DK" sz="1200" b="1" dirty="0">
                <a:solidFill>
                  <a:schemeClr val="tx2"/>
                </a:solidFill>
              </a:rPr>
            </a:br>
            <a:br>
              <a:rPr lang="da-DK" sz="1200" b="1" dirty="0">
                <a:solidFill>
                  <a:schemeClr val="tx2"/>
                </a:solidFill>
              </a:rPr>
            </a:br>
            <a:r>
              <a:rPr lang="da-DK" sz="1200" dirty="0"/>
              <a:t>Denne tilpasning kræver, </a:t>
            </a:r>
            <a:r>
              <a:rPr lang="da-DK" sz="1200" b="1" dirty="0">
                <a:solidFill>
                  <a:schemeClr val="tx2"/>
                </a:solidFill>
              </a:rPr>
              <a:t>forståelse for kundernes præferencer, reaktioner og tankemønstre, </a:t>
            </a:r>
            <a:r>
              <a:rPr lang="da-DK" sz="1200" dirty="0"/>
              <a:t>hvilket er afgørende i udviklingen af målrettede og gode rejseløsninger.</a:t>
            </a:r>
            <a:br>
              <a:rPr lang="da-DK" sz="1200" dirty="0"/>
            </a:br>
            <a:br>
              <a:rPr lang="da-DK" sz="1200" dirty="0"/>
            </a:br>
            <a:r>
              <a:rPr lang="da-DK" sz="1200" b="1" dirty="0">
                <a:solidFill>
                  <a:schemeClr val="tx2"/>
                </a:solidFill>
              </a:rPr>
              <a:t>Epinion</a:t>
            </a:r>
            <a:r>
              <a:rPr lang="da-DK" sz="1200" dirty="0"/>
              <a:t> arbejder med velkendte kvantitative og kvalitative analyseværktøjer, men også nyere værktøjer, som kan bidrage til at </a:t>
            </a:r>
            <a:r>
              <a:rPr lang="da-DK" sz="1200" b="1" dirty="0">
                <a:solidFill>
                  <a:schemeClr val="tx2"/>
                </a:solidFill>
              </a:rPr>
              <a:t>afdække de mobile passagerers reaktioner. </a:t>
            </a:r>
            <a:r>
              <a:rPr lang="da-DK" sz="1200" dirty="0"/>
              <a:t> Vi kommer helt tæt på brugerne og kan forklare hvorfor og hvordan passagererne træffer deres transportvalg og hvornår de føler sig mobile.</a:t>
            </a:r>
          </a:p>
        </p:txBody>
      </p:sp>
      <p:pic>
        <p:nvPicPr>
          <p:cNvPr id="5" name="Pladsholder til billede 27">
            <a:extLst>
              <a:ext uri="{FF2B5EF4-FFF2-40B4-BE49-F238E27FC236}">
                <a16:creationId xmlns:a16="http://schemas.microsoft.com/office/drawing/2014/main" id="{C22E2F45-0AA2-49BF-9B8B-6D474291704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819" t="-15" r="51967" b="15"/>
          <a:stretch/>
        </p:blipFill>
        <p:spPr bwMode="auto">
          <a:xfrm>
            <a:off x="-16728" y="-849"/>
            <a:ext cx="3115976" cy="574903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8D17AE6-723D-4041-A608-0D62581ABC1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024257" y="1606123"/>
            <a:ext cx="2064364" cy="16943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032D6A1-4A38-4B0F-9294-BB7215D5F9F9}"/>
              </a:ext>
            </a:extLst>
          </p:cNvPr>
          <p:cNvSpPr/>
          <p:nvPr/>
        </p:nvSpPr>
        <p:spPr>
          <a:xfrm>
            <a:off x="7206038" y="1421136"/>
            <a:ext cx="1694391" cy="2065014"/>
          </a:xfrm>
          <a:prstGeom prst="rect">
            <a:avLst/>
          </a:prstGeom>
          <a:solidFill>
            <a:srgbClr val="41404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13E9603-E79C-4119-BABB-1D8B2542071D}"/>
              </a:ext>
            </a:extLst>
          </p:cNvPr>
          <p:cNvCxnSpPr>
            <a:cxnSpLocks/>
          </p:cNvCxnSpPr>
          <p:nvPr/>
        </p:nvCxnSpPr>
        <p:spPr>
          <a:xfrm flipV="1">
            <a:off x="7370748" y="1653255"/>
            <a:ext cx="0" cy="1681796"/>
          </a:xfrm>
          <a:prstGeom prst="straightConnector1">
            <a:avLst/>
          </a:prstGeom>
          <a:ln w="12700">
            <a:solidFill>
              <a:srgbClr val="E6E7E7"/>
            </a:solidFill>
            <a:prstDash val="sysDot"/>
            <a:headEnd type="triangle" w="lg" len="lg"/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6E660C1-D62F-40D3-B7B5-501FB967994C}"/>
              </a:ext>
            </a:extLst>
          </p:cNvPr>
          <p:cNvSpPr txBox="1"/>
          <p:nvPr/>
        </p:nvSpPr>
        <p:spPr>
          <a:xfrm>
            <a:off x="7476268" y="1653255"/>
            <a:ext cx="1191325" cy="231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da-DK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DLIGERE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2DACBD-B587-497D-86C3-722F2DFD8414}"/>
              </a:ext>
            </a:extLst>
          </p:cNvPr>
          <p:cNvSpPr txBox="1"/>
          <p:nvPr/>
        </p:nvSpPr>
        <p:spPr>
          <a:xfrm>
            <a:off x="7531537" y="3103449"/>
            <a:ext cx="1262179" cy="2316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</a:pPr>
            <a:r>
              <a:rPr lang="da-DK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DAG:</a:t>
            </a:r>
          </a:p>
        </p:txBody>
      </p:sp>
      <p:pic>
        <p:nvPicPr>
          <p:cNvPr id="15" name="Graphic 14" descr="Group">
            <a:extLst>
              <a:ext uri="{FF2B5EF4-FFF2-40B4-BE49-F238E27FC236}">
                <a16:creationId xmlns:a16="http://schemas.microsoft.com/office/drawing/2014/main" id="{E0F25A5C-29A6-40A7-9B12-C190A02A3C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70084" y="1813713"/>
            <a:ext cx="646123" cy="466124"/>
          </a:xfrm>
          <a:prstGeom prst="rect">
            <a:avLst/>
          </a:prstGeom>
        </p:spPr>
      </p:pic>
      <p:pic>
        <p:nvPicPr>
          <p:cNvPr id="16" name="Graphic 15" descr="Man">
            <a:extLst>
              <a:ext uri="{FF2B5EF4-FFF2-40B4-BE49-F238E27FC236}">
                <a16:creationId xmlns:a16="http://schemas.microsoft.com/office/drawing/2014/main" id="{174CF8FD-C000-426C-95D6-D72F1AD0C8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27571" y="2853614"/>
            <a:ext cx="419761" cy="499669"/>
          </a:xfrm>
          <a:prstGeom prst="rect">
            <a:avLst/>
          </a:prstGeom>
        </p:spPr>
      </p:pic>
      <p:pic>
        <p:nvPicPr>
          <p:cNvPr id="17" name="Graphic 16" descr="Team">
            <a:extLst>
              <a:ext uri="{FF2B5EF4-FFF2-40B4-BE49-F238E27FC236}">
                <a16:creationId xmlns:a16="http://schemas.microsoft.com/office/drawing/2014/main" id="{D66BE30C-86DF-48E6-B763-66E3BECD38F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01723" y="2763112"/>
            <a:ext cx="229439" cy="165521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1969E60-68AB-43CE-987F-898809181929}"/>
              </a:ext>
            </a:extLst>
          </p:cNvPr>
          <p:cNvSpPr/>
          <p:nvPr/>
        </p:nvSpPr>
        <p:spPr>
          <a:xfrm>
            <a:off x="7227539" y="3587622"/>
            <a:ext cx="1683100" cy="1944128"/>
          </a:xfrm>
          <a:prstGeom prst="roundRect">
            <a:avLst>
              <a:gd name="adj" fmla="val 5645"/>
            </a:avLst>
          </a:prstGeom>
          <a:solidFill>
            <a:srgbClr val="F198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 b="1" dirty="0">
                <a:solidFill>
                  <a:schemeClr val="tx1"/>
                </a:solidFill>
              </a:rPr>
              <a:t>REDSKABRER TIL BRUGERINDSIGT:</a:t>
            </a:r>
          </a:p>
          <a:p>
            <a:pPr algn="ctr"/>
            <a:endParaRPr lang="da-DK" sz="1000" dirty="0">
              <a:solidFill>
                <a:schemeClr val="tx1"/>
              </a:solidFill>
            </a:endParaRP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Mobiletnografi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Eksperimenter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Virkelighedstest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Konceptudvikling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Evalueringer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Perspektiver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Research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Digital labs</a:t>
            </a:r>
          </a:p>
          <a:p>
            <a:pPr marL="171450" indent="-171450" algn="ctr">
              <a:buFont typeface="Wingdings" panose="05000000000000000000" pitchFamily="2" charset="2"/>
              <a:buChar char="§"/>
            </a:pPr>
            <a:r>
              <a:rPr lang="da-DK" sz="1000" dirty="0">
                <a:solidFill>
                  <a:schemeClr val="tx1"/>
                </a:solidFill>
              </a:rPr>
              <a:t>Innovation</a:t>
            </a:r>
            <a:endParaRPr lang="da-DK" sz="1000" b="1" dirty="0">
              <a:solidFill>
                <a:schemeClr val="tx1"/>
              </a:solidFill>
            </a:endParaRPr>
          </a:p>
        </p:txBody>
      </p:sp>
      <p:sp>
        <p:nvSpPr>
          <p:cNvPr id="24" name="Freeform 540">
            <a:extLst>
              <a:ext uri="{FF2B5EF4-FFF2-40B4-BE49-F238E27FC236}">
                <a16:creationId xmlns:a16="http://schemas.microsoft.com/office/drawing/2014/main" id="{2BF8A35F-5C54-45E2-97A5-36E226AFF9C3}"/>
              </a:ext>
            </a:extLst>
          </p:cNvPr>
          <p:cNvSpPr>
            <a:spLocks noEditPoints="1"/>
          </p:cNvSpPr>
          <p:nvPr/>
        </p:nvSpPr>
        <p:spPr bwMode="auto">
          <a:xfrm>
            <a:off x="8463516" y="3666335"/>
            <a:ext cx="330200" cy="269875"/>
          </a:xfrm>
          <a:custGeom>
            <a:avLst/>
            <a:gdLst>
              <a:gd name="T0" fmla="*/ 170 w 208"/>
              <a:gd name="T1" fmla="*/ 146 h 170"/>
              <a:gd name="T2" fmla="*/ 166 w 208"/>
              <a:gd name="T3" fmla="*/ 164 h 170"/>
              <a:gd name="T4" fmla="*/ 154 w 208"/>
              <a:gd name="T5" fmla="*/ 170 h 170"/>
              <a:gd name="T6" fmla="*/ 98 w 208"/>
              <a:gd name="T7" fmla="*/ 118 h 170"/>
              <a:gd name="T8" fmla="*/ 54 w 208"/>
              <a:gd name="T9" fmla="*/ 170 h 170"/>
              <a:gd name="T10" fmla="*/ 42 w 208"/>
              <a:gd name="T11" fmla="*/ 168 h 170"/>
              <a:gd name="T12" fmla="*/ 30 w 208"/>
              <a:gd name="T13" fmla="*/ 152 h 170"/>
              <a:gd name="T14" fmla="*/ 32 w 208"/>
              <a:gd name="T15" fmla="*/ 142 h 170"/>
              <a:gd name="T16" fmla="*/ 56 w 208"/>
              <a:gd name="T17" fmla="*/ 76 h 170"/>
              <a:gd name="T18" fmla="*/ 38 w 208"/>
              <a:gd name="T19" fmla="*/ 70 h 170"/>
              <a:gd name="T20" fmla="*/ 28 w 208"/>
              <a:gd name="T21" fmla="*/ 70 h 170"/>
              <a:gd name="T22" fmla="*/ 16 w 208"/>
              <a:gd name="T23" fmla="*/ 66 h 170"/>
              <a:gd name="T24" fmla="*/ 2 w 208"/>
              <a:gd name="T25" fmla="*/ 46 h 170"/>
              <a:gd name="T26" fmla="*/ 2 w 208"/>
              <a:gd name="T27" fmla="*/ 32 h 170"/>
              <a:gd name="T28" fmla="*/ 18 w 208"/>
              <a:gd name="T29" fmla="*/ 44 h 170"/>
              <a:gd name="T30" fmla="*/ 32 w 208"/>
              <a:gd name="T31" fmla="*/ 44 h 170"/>
              <a:gd name="T32" fmla="*/ 40 w 208"/>
              <a:gd name="T33" fmla="*/ 30 h 170"/>
              <a:gd name="T34" fmla="*/ 36 w 208"/>
              <a:gd name="T35" fmla="*/ 18 h 170"/>
              <a:gd name="T36" fmla="*/ 20 w 208"/>
              <a:gd name="T37" fmla="*/ 4 h 170"/>
              <a:gd name="T38" fmla="*/ 32 w 208"/>
              <a:gd name="T39" fmla="*/ 0 h 170"/>
              <a:gd name="T40" fmla="*/ 54 w 208"/>
              <a:gd name="T41" fmla="*/ 4 h 170"/>
              <a:gd name="T42" fmla="*/ 60 w 208"/>
              <a:gd name="T43" fmla="*/ 10 h 170"/>
              <a:gd name="T44" fmla="*/ 70 w 208"/>
              <a:gd name="T45" fmla="*/ 32 h 170"/>
              <a:gd name="T46" fmla="*/ 68 w 208"/>
              <a:gd name="T47" fmla="*/ 44 h 170"/>
              <a:gd name="T48" fmla="*/ 98 w 208"/>
              <a:gd name="T49" fmla="*/ 78 h 170"/>
              <a:gd name="T50" fmla="*/ 118 w 208"/>
              <a:gd name="T51" fmla="*/ 96 h 170"/>
              <a:gd name="T52" fmla="*/ 192 w 208"/>
              <a:gd name="T53" fmla="*/ 86 h 170"/>
              <a:gd name="T54" fmla="*/ 180 w 208"/>
              <a:gd name="T55" fmla="*/ 86 h 170"/>
              <a:gd name="T56" fmla="*/ 176 w 208"/>
              <a:gd name="T57" fmla="*/ 78 h 170"/>
              <a:gd name="T58" fmla="*/ 176 w 208"/>
              <a:gd name="T59" fmla="*/ 72 h 170"/>
              <a:gd name="T60" fmla="*/ 172 w 208"/>
              <a:gd name="T61" fmla="*/ 64 h 170"/>
              <a:gd name="T62" fmla="*/ 158 w 208"/>
              <a:gd name="T63" fmla="*/ 58 h 170"/>
              <a:gd name="T64" fmla="*/ 148 w 208"/>
              <a:gd name="T65" fmla="*/ 66 h 170"/>
              <a:gd name="T66" fmla="*/ 132 w 208"/>
              <a:gd name="T67" fmla="*/ 42 h 170"/>
              <a:gd name="T68" fmla="*/ 136 w 208"/>
              <a:gd name="T69" fmla="*/ 36 h 170"/>
              <a:gd name="T70" fmla="*/ 134 w 208"/>
              <a:gd name="T71" fmla="*/ 26 h 170"/>
              <a:gd name="T72" fmla="*/ 106 w 208"/>
              <a:gd name="T73" fmla="*/ 12 h 170"/>
              <a:gd name="T74" fmla="*/ 92 w 208"/>
              <a:gd name="T75" fmla="*/ 4 h 170"/>
              <a:gd name="T76" fmla="*/ 124 w 208"/>
              <a:gd name="T77" fmla="*/ 0 h 170"/>
              <a:gd name="T78" fmla="*/ 152 w 208"/>
              <a:gd name="T79" fmla="*/ 8 h 170"/>
              <a:gd name="T80" fmla="*/ 166 w 208"/>
              <a:gd name="T81" fmla="*/ 18 h 170"/>
              <a:gd name="T82" fmla="*/ 182 w 208"/>
              <a:gd name="T83" fmla="*/ 38 h 170"/>
              <a:gd name="T84" fmla="*/ 186 w 208"/>
              <a:gd name="T85" fmla="*/ 52 h 170"/>
              <a:gd name="T86" fmla="*/ 194 w 208"/>
              <a:gd name="T87" fmla="*/ 56 h 170"/>
              <a:gd name="T88" fmla="*/ 204 w 208"/>
              <a:gd name="T89" fmla="*/ 56 h 170"/>
              <a:gd name="T90" fmla="*/ 208 w 208"/>
              <a:gd name="T91" fmla="*/ 66 h 170"/>
              <a:gd name="T92" fmla="*/ 160 w 208"/>
              <a:gd name="T93" fmla="*/ 146 h 170"/>
              <a:gd name="T94" fmla="*/ 154 w 208"/>
              <a:gd name="T95" fmla="*/ 142 h 170"/>
              <a:gd name="T96" fmla="*/ 146 w 208"/>
              <a:gd name="T97" fmla="*/ 146 h 170"/>
              <a:gd name="T98" fmla="*/ 144 w 208"/>
              <a:gd name="T99" fmla="*/ 156 h 170"/>
              <a:gd name="T100" fmla="*/ 150 w 208"/>
              <a:gd name="T101" fmla="*/ 160 h 170"/>
              <a:gd name="T102" fmla="*/ 160 w 208"/>
              <a:gd name="T103" fmla="*/ 158 h 170"/>
              <a:gd name="T104" fmla="*/ 162 w 208"/>
              <a:gd name="T105" fmla="*/ 152 h 170"/>
              <a:gd name="T106" fmla="*/ 160 w 208"/>
              <a:gd name="T107" fmla="*/ 14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8" h="170">
                <a:moveTo>
                  <a:pt x="166" y="140"/>
                </a:moveTo>
                <a:lnTo>
                  <a:pt x="166" y="140"/>
                </a:lnTo>
                <a:lnTo>
                  <a:pt x="170" y="146"/>
                </a:lnTo>
                <a:lnTo>
                  <a:pt x="170" y="152"/>
                </a:lnTo>
                <a:lnTo>
                  <a:pt x="170" y="158"/>
                </a:lnTo>
                <a:lnTo>
                  <a:pt x="166" y="164"/>
                </a:lnTo>
                <a:lnTo>
                  <a:pt x="166" y="164"/>
                </a:lnTo>
                <a:lnTo>
                  <a:pt x="160" y="168"/>
                </a:lnTo>
                <a:lnTo>
                  <a:pt x="154" y="170"/>
                </a:lnTo>
                <a:lnTo>
                  <a:pt x="146" y="168"/>
                </a:lnTo>
                <a:lnTo>
                  <a:pt x="142" y="164"/>
                </a:lnTo>
                <a:lnTo>
                  <a:pt x="98" y="118"/>
                </a:lnTo>
                <a:lnTo>
                  <a:pt x="56" y="168"/>
                </a:lnTo>
                <a:lnTo>
                  <a:pt x="56" y="168"/>
                </a:lnTo>
                <a:lnTo>
                  <a:pt x="54" y="170"/>
                </a:lnTo>
                <a:lnTo>
                  <a:pt x="50" y="170"/>
                </a:lnTo>
                <a:lnTo>
                  <a:pt x="46" y="170"/>
                </a:lnTo>
                <a:lnTo>
                  <a:pt x="42" y="168"/>
                </a:lnTo>
                <a:lnTo>
                  <a:pt x="32" y="156"/>
                </a:lnTo>
                <a:lnTo>
                  <a:pt x="32" y="156"/>
                </a:lnTo>
                <a:lnTo>
                  <a:pt x="30" y="152"/>
                </a:lnTo>
                <a:lnTo>
                  <a:pt x="28" y="150"/>
                </a:lnTo>
                <a:lnTo>
                  <a:pt x="30" y="146"/>
                </a:lnTo>
                <a:lnTo>
                  <a:pt x="32" y="142"/>
                </a:lnTo>
                <a:lnTo>
                  <a:pt x="78" y="98"/>
                </a:lnTo>
                <a:lnTo>
                  <a:pt x="56" y="76"/>
                </a:lnTo>
                <a:lnTo>
                  <a:pt x="56" y="76"/>
                </a:lnTo>
                <a:lnTo>
                  <a:pt x="46" y="70"/>
                </a:lnTo>
                <a:lnTo>
                  <a:pt x="42" y="68"/>
                </a:lnTo>
                <a:lnTo>
                  <a:pt x="38" y="70"/>
                </a:lnTo>
                <a:lnTo>
                  <a:pt x="38" y="70"/>
                </a:lnTo>
                <a:lnTo>
                  <a:pt x="34" y="70"/>
                </a:lnTo>
                <a:lnTo>
                  <a:pt x="28" y="70"/>
                </a:lnTo>
                <a:lnTo>
                  <a:pt x="22" y="70"/>
                </a:lnTo>
                <a:lnTo>
                  <a:pt x="16" y="66"/>
                </a:lnTo>
                <a:lnTo>
                  <a:pt x="16" y="66"/>
                </a:lnTo>
                <a:lnTo>
                  <a:pt x="10" y="62"/>
                </a:lnTo>
                <a:lnTo>
                  <a:pt x="6" y="56"/>
                </a:lnTo>
                <a:lnTo>
                  <a:pt x="2" y="46"/>
                </a:lnTo>
                <a:lnTo>
                  <a:pt x="0" y="38"/>
                </a:lnTo>
                <a:lnTo>
                  <a:pt x="0" y="34"/>
                </a:lnTo>
                <a:lnTo>
                  <a:pt x="2" y="32"/>
                </a:lnTo>
                <a:lnTo>
                  <a:pt x="2" y="32"/>
                </a:lnTo>
                <a:lnTo>
                  <a:pt x="18" y="44"/>
                </a:lnTo>
                <a:lnTo>
                  <a:pt x="18" y="44"/>
                </a:lnTo>
                <a:lnTo>
                  <a:pt x="22" y="46"/>
                </a:lnTo>
                <a:lnTo>
                  <a:pt x="26" y="46"/>
                </a:lnTo>
                <a:lnTo>
                  <a:pt x="32" y="44"/>
                </a:lnTo>
                <a:lnTo>
                  <a:pt x="36" y="38"/>
                </a:lnTo>
                <a:lnTo>
                  <a:pt x="36" y="38"/>
                </a:lnTo>
                <a:lnTo>
                  <a:pt x="40" y="30"/>
                </a:lnTo>
                <a:lnTo>
                  <a:pt x="40" y="24"/>
                </a:lnTo>
                <a:lnTo>
                  <a:pt x="38" y="20"/>
                </a:lnTo>
                <a:lnTo>
                  <a:pt x="36" y="18"/>
                </a:lnTo>
                <a:lnTo>
                  <a:pt x="36" y="18"/>
                </a:lnTo>
                <a:lnTo>
                  <a:pt x="18" y="6"/>
                </a:lnTo>
                <a:lnTo>
                  <a:pt x="20" y="4"/>
                </a:lnTo>
                <a:lnTo>
                  <a:pt x="20" y="4"/>
                </a:lnTo>
                <a:lnTo>
                  <a:pt x="24" y="2"/>
                </a:lnTo>
                <a:lnTo>
                  <a:pt x="32" y="0"/>
                </a:lnTo>
                <a:lnTo>
                  <a:pt x="42" y="0"/>
                </a:lnTo>
                <a:lnTo>
                  <a:pt x="48" y="2"/>
                </a:lnTo>
                <a:lnTo>
                  <a:pt x="54" y="4"/>
                </a:lnTo>
                <a:lnTo>
                  <a:pt x="54" y="4"/>
                </a:lnTo>
                <a:lnTo>
                  <a:pt x="60" y="10"/>
                </a:lnTo>
                <a:lnTo>
                  <a:pt x="60" y="10"/>
                </a:lnTo>
                <a:lnTo>
                  <a:pt x="66" y="16"/>
                </a:lnTo>
                <a:lnTo>
                  <a:pt x="70" y="24"/>
                </a:lnTo>
                <a:lnTo>
                  <a:pt x="70" y="32"/>
                </a:lnTo>
                <a:lnTo>
                  <a:pt x="68" y="38"/>
                </a:lnTo>
                <a:lnTo>
                  <a:pt x="68" y="38"/>
                </a:lnTo>
                <a:lnTo>
                  <a:pt x="68" y="44"/>
                </a:lnTo>
                <a:lnTo>
                  <a:pt x="70" y="48"/>
                </a:lnTo>
                <a:lnTo>
                  <a:pt x="76" y="56"/>
                </a:lnTo>
                <a:lnTo>
                  <a:pt x="98" y="78"/>
                </a:lnTo>
                <a:lnTo>
                  <a:pt x="124" y="50"/>
                </a:lnTo>
                <a:lnTo>
                  <a:pt x="144" y="70"/>
                </a:lnTo>
                <a:lnTo>
                  <a:pt x="118" y="96"/>
                </a:lnTo>
                <a:lnTo>
                  <a:pt x="166" y="140"/>
                </a:lnTo>
                <a:close/>
                <a:moveTo>
                  <a:pt x="206" y="72"/>
                </a:moveTo>
                <a:lnTo>
                  <a:pt x="192" y="86"/>
                </a:lnTo>
                <a:lnTo>
                  <a:pt x="192" y="86"/>
                </a:lnTo>
                <a:lnTo>
                  <a:pt x="186" y="88"/>
                </a:lnTo>
                <a:lnTo>
                  <a:pt x="180" y="86"/>
                </a:lnTo>
                <a:lnTo>
                  <a:pt x="178" y="82"/>
                </a:lnTo>
                <a:lnTo>
                  <a:pt x="178" y="82"/>
                </a:lnTo>
                <a:lnTo>
                  <a:pt x="176" y="78"/>
                </a:lnTo>
                <a:lnTo>
                  <a:pt x="176" y="74"/>
                </a:lnTo>
                <a:lnTo>
                  <a:pt x="176" y="74"/>
                </a:lnTo>
                <a:lnTo>
                  <a:pt x="176" y="72"/>
                </a:lnTo>
                <a:lnTo>
                  <a:pt x="176" y="70"/>
                </a:lnTo>
                <a:lnTo>
                  <a:pt x="172" y="64"/>
                </a:lnTo>
                <a:lnTo>
                  <a:pt x="172" y="64"/>
                </a:lnTo>
                <a:lnTo>
                  <a:pt x="168" y="60"/>
                </a:lnTo>
                <a:lnTo>
                  <a:pt x="162" y="58"/>
                </a:lnTo>
                <a:lnTo>
                  <a:pt x="158" y="58"/>
                </a:lnTo>
                <a:lnTo>
                  <a:pt x="154" y="60"/>
                </a:lnTo>
                <a:lnTo>
                  <a:pt x="154" y="60"/>
                </a:lnTo>
                <a:lnTo>
                  <a:pt x="148" y="66"/>
                </a:lnTo>
                <a:lnTo>
                  <a:pt x="128" y="46"/>
                </a:lnTo>
                <a:lnTo>
                  <a:pt x="132" y="42"/>
                </a:lnTo>
                <a:lnTo>
                  <a:pt x="132" y="42"/>
                </a:lnTo>
                <a:lnTo>
                  <a:pt x="134" y="40"/>
                </a:lnTo>
                <a:lnTo>
                  <a:pt x="134" y="40"/>
                </a:lnTo>
                <a:lnTo>
                  <a:pt x="136" y="36"/>
                </a:lnTo>
                <a:lnTo>
                  <a:pt x="136" y="30"/>
                </a:lnTo>
                <a:lnTo>
                  <a:pt x="134" y="26"/>
                </a:lnTo>
                <a:lnTo>
                  <a:pt x="134" y="26"/>
                </a:lnTo>
                <a:lnTo>
                  <a:pt x="128" y="20"/>
                </a:lnTo>
                <a:lnTo>
                  <a:pt x="120" y="16"/>
                </a:lnTo>
                <a:lnTo>
                  <a:pt x="106" y="12"/>
                </a:lnTo>
                <a:lnTo>
                  <a:pt x="96" y="10"/>
                </a:lnTo>
                <a:lnTo>
                  <a:pt x="92" y="10"/>
                </a:lnTo>
                <a:lnTo>
                  <a:pt x="92" y="4"/>
                </a:lnTo>
                <a:lnTo>
                  <a:pt x="92" y="4"/>
                </a:lnTo>
                <a:lnTo>
                  <a:pt x="108" y="0"/>
                </a:lnTo>
                <a:lnTo>
                  <a:pt x="124" y="0"/>
                </a:lnTo>
                <a:lnTo>
                  <a:pt x="136" y="0"/>
                </a:lnTo>
                <a:lnTo>
                  <a:pt x="146" y="4"/>
                </a:lnTo>
                <a:lnTo>
                  <a:pt x="152" y="8"/>
                </a:lnTo>
                <a:lnTo>
                  <a:pt x="158" y="12"/>
                </a:lnTo>
                <a:lnTo>
                  <a:pt x="166" y="18"/>
                </a:lnTo>
                <a:lnTo>
                  <a:pt x="166" y="18"/>
                </a:lnTo>
                <a:lnTo>
                  <a:pt x="180" y="34"/>
                </a:lnTo>
                <a:lnTo>
                  <a:pt x="180" y="34"/>
                </a:lnTo>
                <a:lnTo>
                  <a:pt x="182" y="38"/>
                </a:lnTo>
                <a:lnTo>
                  <a:pt x="182" y="42"/>
                </a:lnTo>
                <a:lnTo>
                  <a:pt x="184" y="48"/>
                </a:lnTo>
                <a:lnTo>
                  <a:pt x="186" y="52"/>
                </a:lnTo>
                <a:lnTo>
                  <a:pt x="186" y="52"/>
                </a:lnTo>
                <a:lnTo>
                  <a:pt x="190" y="56"/>
                </a:lnTo>
                <a:lnTo>
                  <a:pt x="194" y="56"/>
                </a:lnTo>
                <a:lnTo>
                  <a:pt x="194" y="56"/>
                </a:lnTo>
                <a:lnTo>
                  <a:pt x="200" y="54"/>
                </a:lnTo>
                <a:lnTo>
                  <a:pt x="204" y="56"/>
                </a:lnTo>
                <a:lnTo>
                  <a:pt x="206" y="60"/>
                </a:lnTo>
                <a:lnTo>
                  <a:pt x="206" y="60"/>
                </a:lnTo>
                <a:lnTo>
                  <a:pt x="208" y="66"/>
                </a:lnTo>
                <a:lnTo>
                  <a:pt x="206" y="72"/>
                </a:lnTo>
                <a:lnTo>
                  <a:pt x="206" y="72"/>
                </a:lnTo>
                <a:close/>
                <a:moveTo>
                  <a:pt x="160" y="146"/>
                </a:moveTo>
                <a:lnTo>
                  <a:pt x="160" y="146"/>
                </a:lnTo>
                <a:lnTo>
                  <a:pt x="156" y="144"/>
                </a:lnTo>
                <a:lnTo>
                  <a:pt x="154" y="142"/>
                </a:lnTo>
                <a:lnTo>
                  <a:pt x="150" y="144"/>
                </a:lnTo>
                <a:lnTo>
                  <a:pt x="146" y="146"/>
                </a:lnTo>
                <a:lnTo>
                  <a:pt x="146" y="146"/>
                </a:lnTo>
                <a:lnTo>
                  <a:pt x="144" y="148"/>
                </a:lnTo>
                <a:lnTo>
                  <a:pt x="144" y="152"/>
                </a:lnTo>
                <a:lnTo>
                  <a:pt x="144" y="156"/>
                </a:lnTo>
                <a:lnTo>
                  <a:pt x="146" y="158"/>
                </a:lnTo>
                <a:lnTo>
                  <a:pt x="146" y="158"/>
                </a:lnTo>
                <a:lnTo>
                  <a:pt x="150" y="160"/>
                </a:lnTo>
                <a:lnTo>
                  <a:pt x="154" y="162"/>
                </a:lnTo>
                <a:lnTo>
                  <a:pt x="156" y="160"/>
                </a:lnTo>
                <a:lnTo>
                  <a:pt x="160" y="158"/>
                </a:lnTo>
                <a:lnTo>
                  <a:pt x="160" y="158"/>
                </a:lnTo>
                <a:lnTo>
                  <a:pt x="162" y="156"/>
                </a:lnTo>
                <a:lnTo>
                  <a:pt x="162" y="152"/>
                </a:lnTo>
                <a:lnTo>
                  <a:pt x="162" y="148"/>
                </a:lnTo>
                <a:lnTo>
                  <a:pt x="160" y="146"/>
                </a:lnTo>
                <a:lnTo>
                  <a:pt x="160" y="1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" name="Graphic 25" descr="Team">
            <a:extLst>
              <a:ext uri="{FF2B5EF4-FFF2-40B4-BE49-F238E27FC236}">
                <a16:creationId xmlns:a16="http://schemas.microsoft.com/office/drawing/2014/main" id="{E6CA06CC-A1B1-4F28-B744-13063A82EF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83562" y="2763112"/>
            <a:ext cx="229439" cy="165521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6E1609A0-C17C-4241-AAC9-A6CBA9CA835A}"/>
              </a:ext>
            </a:extLst>
          </p:cNvPr>
          <p:cNvSpPr/>
          <p:nvPr/>
        </p:nvSpPr>
        <p:spPr>
          <a:xfrm>
            <a:off x="8117501" y="1813713"/>
            <a:ext cx="698706" cy="466124"/>
          </a:xfrm>
          <a:prstGeom prst="ellipse">
            <a:avLst/>
          </a:prstGeom>
          <a:noFill/>
          <a:ln w="12700">
            <a:solidFill>
              <a:srgbClr val="F198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2F928766-D0CE-4D9F-A3EC-0D2E78086F49}"/>
              </a:ext>
            </a:extLst>
          </p:cNvPr>
          <p:cNvSpPr/>
          <p:nvPr/>
        </p:nvSpPr>
        <p:spPr>
          <a:xfrm rot="5400000">
            <a:off x="8251742" y="3003917"/>
            <a:ext cx="566154" cy="265548"/>
          </a:xfrm>
          <a:prstGeom prst="ellipse">
            <a:avLst/>
          </a:prstGeom>
          <a:noFill/>
          <a:ln w="12700">
            <a:solidFill>
              <a:srgbClr val="F198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22EE05BD-4CE8-4505-BD53-E746F50340C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3968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Placeholder 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5"/>
            <a:ext cx="9144000" cy="5711952"/>
          </a:xfrm>
          <a:prstGeom prst="rect">
            <a:avLst/>
          </a:prstGeom>
        </p:spPr>
      </p:pic>
      <p:sp>
        <p:nvSpPr>
          <p:cNvPr id="48" name="Rectangle 47"/>
          <p:cNvSpPr/>
          <p:nvPr/>
        </p:nvSpPr>
        <p:spPr>
          <a:xfrm>
            <a:off x="1801091" y="3615718"/>
            <a:ext cx="7342909" cy="1440801"/>
          </a:xfrm>
          <a:prstGeom prst="rect">
            <a:avLst/>
          </a:prstGeom>
          <a:solidFill>
            <a:srgbClr val="221E1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95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479666" y="3746553"/>
            <a:ext cx="1940698" cy="1091439"/>
            <a:chOff x="457200" y="1192790"/>
            <a:chExt cx="1940698" cy="1091439"/>
          </a:xfrm>
        </p:grpSpPr>
        <p:sp>
          <p:nvSpPr>
            <p:cNvPr id="12" name="TextBox 11"/>
            <p:cNvSpPr txBox="1"/>
            <p:nvPr userDrawn="1">
              <p:custDataLst>
                <p:tags r:id="rId7"/>
              </p:custDataLst>
            </p:nvPr>
          </p:nvSpPr>
          <p:spPr>
            <a:xfrm>
              <a:off x="457200" y="1192790"/>
              <a:ext cx="1737361" cy="1658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822710" rtl="0" eaLnBrk="1" fontAlgn="base" latinLnBrk="0" hangingPunct="1">
                <a:lnSpc>
                  <a:spcPct val="114000"/>
                </a:lnSpc>
                <a:spcBef>
                  <a:spcPts val="180"/>
                </a:spcBef>
                <a:spcAft>
                  <a:spcPts val="18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945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EPINION COPENHAGEN</a:t>
              </a:r>
              <a:endParaRPr kumimoji="0" lang="en-US" sz="94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Purista"/>
                <a:cs typeface="Times New Roman"/>
              </a:endParaRPr>
            </a:p>
          </p:txBody>
        </p:sp>
        <p:sp>
          <p:nvSpPr>
            <p:cNvPr id="13" name="TextBox 12"/>
            <p:cNvSpPr txBox="1"/>
            <p:nvPr userDrawn="1">
              <p:custDataLst>
                <p:tags r:id="rId8"/>
              </p:custDataLst>
            </p:nvPr>
          </p:nvSpPr>
          <p:spPr>
            <a:xfrm>
              <a:off x="457203" y="1573778"/>
              <a:ext cx="1940695" cy="7104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RYESGADE 3F</a:t>
              </a:r>
            </a:p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2200 COPENHAGEN N  </a:t>
              </a:r>
            </a:p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DENMARK</a:t>
              </a:r>
            </a:p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T: +45 87 30 95 00</a:t>
              </a:r>
            </a:p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E: COPENHAGEN@EPINIONGLOBAL.COM</a:t>
              </a:r>
            </a:p>
          </p:txBody>
        </p:sp>
        <p:cxnSp>
          <p:nvCxnSpPr>
            <p:cNvPr id="14" name="Straight Connector 13"/>
            <p:cNvCxnSpPr/>
            <p:nvPr userDrawn="1">
              <p:custDataLst>
                <p:tags r:id="rId9"/>
              </p:custDataLst>
            </p:nvPr>
          </p:nvCxnSpPr>
          <p:spPr>
            <a:xfrm>
              <a:off x="457201" y="1483675"/>
              <a:ext cx="1691640" cy="0"/>
            </a:xfrm>
            <a:prstGeom prst="line">
              <a:avLst/>
            </a:prstGeom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0" name="Picture 9"/>
          <p:cNvPicPr>
            <a:picLocks noChangeAspect="1"/>
          </p:cNvPicPr>
          <p:nvPr/>
        </p:nvPicPr>
        <p:blipFill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54139" y="170148"/>
            <a:ext cx="854161" cy="16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F5F46DB1-3ED7-4A74-AD7D-D5EED773B023}"/>
              </a:ext>
            </a:extLst>
          </p:cNvPr>
          <p:cNvSpPr txBox="1">
            <a:spLocks/>
          </p:cNvSpPr>
          <p:nvPr/>
        </p:nvSpPr>
        <p:spPr>
          <a:xfrm>
            <a:off x="4331088" y="4112673"/>
            <a:ext cx="1608795" cy="581713"/>
          </a:xfrm>
          <a:prstGeom prst="rect">
            <a:avLst/>
          </a:prstGeom>
        </p:spPr>
        <p:txBody>
          <a:bodyPr/>
          <a:lstStyle>
            <a:lvl1pPr marL="233363" indent="-233363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14"/>
              </a:buBlip>
              <a:defRPr lang="en-US" sz="1000" kern="0" spc="0" baseline="0" dirty="0">
                <a:solidFill>
                  <a:srgbClr val="414042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defRPr>
            </a:lvl1pPr>
            <a:lvl2pPr marL="457200" indent="-223838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SzPct val="100000"/>
              <a:buFontTx/>
              <a:buBlip>
                <a:blip r:embed="rId15"/>
              </a:buBlip>
              <a:defRPr lang="en-US" sz="900" kern="0" spc="0" dirty="0">
                <a:solidFill>
                  <a:srgbClr val="58595B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defRPr>
            </a:lvl2pPr>
            <a:lvl3pPr marL="690563" indent="-233363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→"/>
              <a:defRPr lang="en-US" sz="800" kern="0" spc="0" baseline="0" dirty="0">
                <a:solidFill>
                  <a:srgbClr val="6D6E71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defRPr>
            </a:lvl3pPr>
            <a:lvl4pPr marL="914400" indent="-223838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Purista" pitchFamily="2" charset="0"/>
              <a:buChar char="↘"/>
              <a:defRPr lang="en-US" sz="700" kern="0" spc="0" dirty="0">
                <a:solidFill>
                  <a:srgbClr val="808285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defRPr>
            </a:lvl4pPr>
            <a:lvl5pPr marL="0" indent="0" algn="l" defTabSz="809625" rtl="0" eaLnBrk="1" fontAlgn="base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charset="0"/>
              <a:buNone/>
              <a:tabLst/>
              <a:defRPr lang="en-US" sz="1000" kern="0" spc="0" dirty="0">
                <a:solidFill>
                  <a:srgbClr val="414042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defRPr>
            </a:lvl5pPr>
            <a:lvl6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200" b="1" kern="1200">
                <a:solidFill>
                  <a:srgbClr val="414042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rgbClr val="58595B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140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Segoe UI Light" panose="020B0502040204020203" pitchFamily="34" charset="0"/>
              </a:defRPr>
            </a:lvl8pPr>
            <a:lvl9pPr marL="0" indent="0" algn="l" defTabSz="810433" rtl="0" eaLnBrk="1" latinLnBrk="0" hangingPunct="1">
              <a:lnSpc>
                <a:spcPct val="120000"/>
              </a:lnSpc>
              <a:spcBef>
                <a:spcPts val="200"/>
              </a:spcBef>
              <a:spcAft>
                <a:spcPts val="600"/>
              </a:spcAft>
              <a:buFont typeface="Arial" pitchFamily="34" charset="0"/>
              <a:buNone/>
              <a:defRPr sz="800" kern="1200">
                <a:solidFill>
                  <a:srgbClr val="A7A9AC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marR="51431" indent="0" defTabSz="82271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US" sz="810" kern="1200" dirty="0">
                <a:solidFill>
                  <a:prstClr val="white"/>
                </a:solidFill>
                <a:cs typeface="Times New Roman"/>
              </a:rPr>
              <a:t>HACK KAMPMANNS PLADS 1-3 </a:t>
            </a:r>
          </a:p>
          <a:p>
            <a:pPr marL="0" marR="51431" indent="0" defTabSz="82271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US" sz="810" kern="1200" dirty="0">
                <a:solidFill>
                  <a:prstClr val="white"/>
                </a:solidFill>
                <a:cs typeface="Times New Roman"/>
              </a:rPr>
              <a:t>8000 AARHUS C ,</a:t>
            </a:r>
          </a:p>
          <a:p>
            <a:pPr marL="0" marR="51431" indent="0" defTabSz="82271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US" sz="810" kern="1200" dirty="0">
                <a:solidFill>
                  <a:prstClr val="white"/>
                </a:solidFill>
                <a:cs typeface="Times New Roman"/>
              </a:rPr>
              <a:t>DENMARK </a:t>
            </a:r>
          </a:p>
          <a:p>
            <a:pPr marL="0" marR="51431" indent="0" defTabSz="82271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US" sz="810" kern="1200" dirty="0">
                <a:solidFill>
                  <a:prstClr val="white"/>
                </a:solidFill>
                <a:cs typeface="Times New Roman"/>
              </a:rPr>
              <a:t>T: +45 87 30 9500 </a:t>
            </a:r>
          </a:p>
          <a:p>
            <a:pPr marL="0" marR="51431" indent="0" defTabSz="82271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US" sz="810" kern="1200" dirty="0">
                <a:solidFill>
                  <a:prstClr val="white"/>
                </a:solidFill>
                <a:cs typeface="Times New Roman"/>
              </a:rPr>
              <a:t>E: AARHUS@EPINION.D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112026-A776-4845-8D04-5A5E13DF69E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431560" y="3715882"/>
            <a:ext cx="1737361" cy="1563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22710" rtl="0" eaLnBrk="1" fontAlgn="base" latinLnBrk="0" hangingPunct="1">
              <a:lnSpc>
                <a:spcPct val="114000"/>
              </a:lnSpc>
              <a:spcBef>
                <a:spcPts val="180"/>
              </a:spcBef>
              <a:spcAft>
                <a:spcPts val="18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4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Times New Roman"/>
              </a:rPr>
              <a:t>EPINION AARHUS</a:t>
            </a:r>
            <a:endParaRPr kumimoji="0" lang="en-US" sz="94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Purista"/>
              <a:cs typeface="Times New Roman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B6D833B-D3EE-4D2C-9E5B-E98027465C54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4431560" y="4037438"/>
            <a:ext cx="169164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76472A6-0A58-4393-A46A-C65E37D0EE1E}"/>
              </a:ext>
            </a:extLst>
          </p:cNvPr>
          <p:cNvGrpSpPr/>
          <p:nvPr/>
        </p:nvGrpSpPr>
        <p:grpSpPr>
          <a:xfrm>
            <a:off x="2290627" y="3746553"/>
            <a:ext cx="1940698" cy="1091439"/>
            <a:chOff x="457200" y="1192790"/>
            <a:chExt cx="1940698" cy="109143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CA93219-D677-4755-B834-49228A65BE75}"/>
                </a:ext>
              </a:extLst>
            </p:cNvPr>
            <p:cNvSpPr txBox="1"/>
            <p:nvPr userDrawn="1">
              <p:custDataLst>
                <p:tags r:id="rId4"/>
              </p:custDataLst>
            </p:nvPr>
          </p:nvSpPr>
          <p:spPr>
            <a:xfrm>
              <a:off x="457200" y="1192790"/>
              <a:ext cx="1737361" cy="1658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822710" rtl="0" eaLnBrk="1" fontAlgn="base" latinLnBrk="0" hangingPunct="1">
                <a:lnSpc>
                  <a:spcPct val="114000"/>
                </a:lnSpc>
                <a:spcBef>
                  <a:spcPts val="180"/>
                </a:spcBef>
                <a:spcAft>
                  <a:spcPts val="18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945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EPINION STAVANGER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42C5C46-C7F5-48D3-977F-9FFC5298EB46}"/>
                </a:ext>
              </a:extLst>
            </p:cNvPr>
            <p:cNvSpPr txBox="1"/>
            <p:nvPr userDrawn="1">
              <p:custDataLst>
                <p:tags r:id="rId5"/>
              </p:custDataLst>
            </p:nvPr>
          </p:nvSpPr>
          <p:spPr>
            <a:xfrm>
              <a:off x="457203" y="1573778"/>
              <a:ext cx="1940695" cy="7104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KLUBBGATEN 4</a:t>
              </a:r>
            </a:p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4006 STAVANGER </a:t>
              </a:r>
            </a:p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NORWAY</a:t>
              </a:r>
            </a:p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T: +47 90 17 18 99</a:t>
              </a:r>
            </a:p>
            <a:p>
              <a:pPr marL="0" marR="51431" lvl="0" indent="0" algn="l" defTabSz="822710" rtl="0" eaLnBrk="1" fontAlgn="base" latinLnBrk="0" hangingPunct="1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1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/>
                  <a:cs typeface="Times New Roman"/>
                </a:rPr>
                <a:t>E: STAVANGER@EPINIONGLOBAL.COM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EBA3F8E-950F-4519-8C60-46EDF12E3C96}"/>
                </a:ext>
              </a:extLst>
            </p:cNvPr>
            <p:cNvCxnSpPr/>
            <p:nvPr userDrawn="1">
              <p:custDataLst>
                <p:tags r:id="rId6"/>
              </p:custDataLst>
            </p:nvPr>
          </p:nvCxnSpPr>
          <p:spPr>
            <a:xfrm>
              <a:off x="457201" y="1483675"/>
              <a:ext cx="1691640" cy="0"/>
            </a:xfrm>
            <a:prstGeom prst="line">
              <a:avLst/>
            </a:prstGeom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D0DC450-9BF0-4273-8D94-DC6947B0C00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79669" y="5047283"/>
            <a:ext cx="2664334" cy="376513"/>
          </a:xfrm>
          <a:prstGeom prst="rect">
            <a:avLst/>
          </a:prstGeom>
          <a:solidFill>
            <a:srgbClr val="E3303D"/>
          </a:solidFill>
        </p:spPr>
        <p:txBody>
          <a:bodyPr wrap="square" lIns="45720" tIns="45720" rIns="45720" bIns="45720" rtlCol="0" anchor="ctr">
            <a:spAutoFit/>
          </a:bodyPr>
          <a:lstStyle/>
          <a:p>
            <a:pPr marL="0" marR="0" lvl="0" indent="0" algn="ctr" defTabSz="728607" rtl="0" eaLnBrk="1" fontAlgn="base" latinLnBrk="0" hangingPunct="1">
              <a:lnSpc>
                <a:spcPct val="114000"/>
              </a:lnSpc>
              <a:spcBef>
                <a:spcPts val="180"/>
              </a:spcBef>
              <a:spcAft>
                <a:spcPts val="18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2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</a:rPr>
              <a:t>WWW.EPINIONGLOBAL.COM</a:t>
            </a:r>
            <a:r>
              <a:rPr kumimoji="0" lang="vi-VN" sz="162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</a:rPr>
              <a:t> </a:t>
            </a:r>
            <a:endParaRPr kumimoji="0" lang="en-US" sz="162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9568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PjJpiV7Ug7FyyTkIUuLDb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gQsETo3EaAfRa3X1z.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7ORqt9c0.0E4n8CPeh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ey1jXTPC7T6gfZEcHQHJj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ovFxQyHEqif6pRpbd_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7ORqt9c0.0E4n8CPeh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uUUz39ckmt8dsmQApi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ovFxQyHEqif6pRpbd_3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gQsETo3EaAfRa3X1z.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7ORqt9c0.0E4n8CPeh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ovFxQyHEqif6pRpbd_3Q"/>
</p:tagLst>
</file>

<file path=ppt/theme/theme1.xml><?xml version="1.0" encoding="utf-8"?>
<a:theme xmlns:a="http://schemas.openxmlformats.org/drawingml/2006/main" name="Basic Block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4532118B-A26A-4B67-BD92-B635D0093295}"/>
    </a:ext>
  </a:extLst>
</a:theme>
</file>

<file path=ppt/theme/theme10.xml><?xml version="1.0" encoding="utf-8"?>
<a:theme xmlns:a="http://schemas.openxmlformats.org/drawingml/2006/main" name="Chart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4511DB1E-AE04-45E6-BFB2-CB9E2962F7D1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 Column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A6AAA02B-A71D-4138-962A-03DF2B01244D}"/>
    </a:ext>
  </a:extLst>
</a:theme>
</file>

<file path=ppt/theme/theme3.xml><?xml version="1.0" encoding="utf-8"?>
<a:theme xmlns:a="http://schemas.openxmlformats.org/drawingml/2006/main" name="2 Columns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8A54DE22-8704-4ABB-86EC-A1060422C56E}"/>
    </a:ext>
  </a:extLst>
</a:theme>
</file>

<file path=ppt/theme/theme4.xml><?xml version="1.0" encoding="utf-8"?>
<a:theme xmlns:a="http://schemas.openxmlformats.org/drawingml/2006/main" name="3 Columns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D836A453-8D5F-48CC-A8CB-C9FD519DE4AE}"/>
    </a:ext>
  </a:extLst>
</a:theme>
</file>

<file path=ppt/theme/theme5.xml><?xml version="1.0" encoding="utf-8"?>
<a:theme xmlns:a="http://schemas.openxmlformats.org/drawingml/2006/main" name="4 Columns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EBB5FA84-EAEA-4372-89F5-146998F0789A}"/>
    </a:ext>
  </a:extLst>
</a:theme>
</file>

<file path=ppt/theme/theme6.xml><?xml version="1.0" encoding="utf-8"?>
<a:theme xmlns:a="http://schemas.openxmlformats.org/drawingml/2006/main" name="5 Columns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E23BBB0D-0D63-4564-9120-3AD6636795A7}"/>
    </a:ext>
  </a:extLst>
</a:theme>
</file>

<file path=ppt/theme/theme7.xml><?xml version="1.0" encoding="utf-8"?>
<a:theme xmlns:a="http://schemas.openxmlformats.org/drawingml/2006/main" name="6 Columns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D373460A-D0AE-4747-8BCA-8C119342B7CC}"/>
    </a:ext>
  </a:extLst>
</a:theme>
</file>

<file path=ppt/theme/theme8.xml><?xml version="1.0" encoding="utf-8"?>
<a:theme xmlns:a="http://schemas.openxmlformats.org/drawingml/2006/main" name="7 Columns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D2E0A7CD-12A9-462E-ADD0-ACC69C2B97DD}"/>
    </a:ext>
  </a:extLst>
</a:theme>
</file>

<file path=ppt/theme/theme9.xml><?xml version="1.0" encoding="utf-8"?>
<a:theme xmlns:a="http://schemas.openxmlformats.org/drawingml/2006/main" name="Team &amp; Profile">
  <a:themeElements>
    <a:clrScheme name="Epinion Colors">
      <a:dk1>
        <a:sysClr val="windowText" lastClr="000000"/>
      </a:dk1>
      <a:lt1>
        <a:sysClr val="window" lastClr="FFFFFF"/>
      </a:lt1>
      <a:dk2>
        <a:srgbClr val="C00000"/>
      </a:dk2>
      <a:lt2>
        <a:srgbClr val="EEECE1"/>
      </a:lt2>
      <a:accent1>
        <a:srgbClr val="E3323D"/>
      </a:accent1>
      <a:accent2>
        <a:srgbClr val="54B948"/>
      </a:accent2>
      <a:accent3>
        <a:srgbClr val="2ABDBB"/>
      </a:accent3>
      <a:accent4>
        <a:srgbClr val="BCD631"/>
      </a:accent4>
      <a:accent5>
        <a:srgbClr val="F36C21"/>
      </a:accent5>
      <a:accent6>
        <a:srgbClr val="EE2B77"/>
      </a:accent6>
      <a:hlink>
        <a:srgbClr val="EB2C3A"/>
      </a:hlink>
      <a:folHlink>
        <a:srgbClr val="EB2C3A"/>
      </a:folHlink>
    </a:clrScheme>
    <a:fontScheme name="Epinion Default Font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50000"/>
            </a:schemeClr>
          </a:solidFill>
          <a:prstDash val="sysDot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spcBef>
            <a:spcPts val="200"/>
          </a:spcBef>
          <a:spcAft>
            <a:spcPts val="200"/>
          </a:spcAft>
          <a:defRPr sz="1100" dirty="0" err="1" smtClean="0">
            <a:latin typeface="+mn-lt"/>
            <a:cs typeface="Myriad Pro Light"/>
          </a:defRPr>
        </a:defPPr>
      </a:lstStyle>
    </a:txDef>
  </a:objectDefaults>
  <a:extraClrSchemeLst/>
  <a:custClrLst>
    <a:custClr name="Red Hue">
      <a:srgbClr val="E3303D"/>
    </a:custClr>
    <a:custClr name="Red Shade">
      <a:srgbClr val="A41E22"/>
    </a:custClr>
    <a:custClr name="Red Uppertint">
      <a:srgbClr val="F15D54"/>
    </a:custClr>
    <a:custClr name="Red Lowertint">
      <a:srgbClr val="F37A73"/>
    </a:custClr>
    <a:custClr name="Orange Hue">
      <a:srgbClr val="F26C23"/>
    </a:custClr>
    <a:custClr name="Orange Shade">
      <a:srgbClr val="A64F24"/>
    </a:custClr>
    <a:custClr name="Orange Uppertint">
      <a:srgbClr val="F68A20"/>
    </a:custClr>
    <a:custClr name="Orange Lowertint">
      <a:srgbClr val="F9A65B"/>
    </a:custClr>
    <a:custClr name="Fuego Hue">
      <a:srgbClr val="BBD531"/>
    </a:custClr>
    <a:custClr name="Fuego Shade">
      <a:srgbClr val="81A03D"/>
    </a:custClr>
    <a:custClr name="Fuego Uppertint">
      <a:srgbClr val="C9DE77"/>
    </a:custClr>
    <a:custClr name="Fuego Lowertint">
      <a:srgbClr val="D4E38A"/>
    </a:custClr>
    <a:custClr name="Green Hue">
      <a:srgbClr val="54B848"/>
    </a:custClr>
    <a:custClr name="Green Shade">
      <a:srgbClr val="298440"/>
    </a:custClr>
    <a:custClr name="Green Uppertint">
      <a:srgbClr val="83C453"/>
    </a:custClr>
    <a:custClr name="Green Lowertint">
      <a:srgbClr val="A9D383"/>
    </a:custClr>
    <a:custClr name="Cyan Hue">
      <a:srgbClr val="2BBDBA"/>
    </a:custClr>
    <a:custClr name="Cyan Shade">
      <a:srgbClr val="028C8F"/>
    </a:custClr>
    <a:custClr name="Cyan Uppertint">
      <a:srgbClr val="7DCDCA"/>
    </a:custClr>
    <a:custClr name="Cyan Lowertint">
      <a:srgbClr val="A2DADD"/>
    </a:custClr>
    <a:custClr name="Pink Hue">
      <a:srgbClr val="ED2C77"/>
    </a:custClr>
    <a:custClr name="Pink Shade">
      <a:srgbClr val="9A1C4E"/>
    </a:custClr>
    <a:custClr name="Pink Uppertint">
      <a:srgbClr val="F05F90"/>
    </a:custClr>
    <a:custClr name="Pink Lowertint">
      <a:srgbClr val="F075A1"/>
    </a:custClr>
    <a:custClr name="H1">
      <a:srgbClr val="221E1F"/>
    </a:custClr>
    <a:custClr name="H2">
      <a:srgbClr val="414042"/>
    </a:custClr>
    <a:custClr name="H3">
      <a:srgbClr val="58595B"/>
    </a:custClr>
    <a:custClr name="H4">
      <a:srgbClr val="6D6E71"/>
    </a:custClr>
    <a:custClr name="M1">
      <a:srgbClr val="808285"/>
    </a:custClr>
    <a:custClr name="M2">
      <a:srgbClr val="929497"/>
    </a:custClr>
    <a:custClr name="M3">
      <a:srgbClr val="A7A9AC"/>
    </a:custClr>
    <a:custClr name="M4">
      <a:srgbClr val="BCBDBF"/>
    </a:custClr>
    <a:custClr name="L1">
      <a:srgbClr val="D1D3D4"/>
    </a:custClr>
    <a:custClr name="L2">
      <a:srgbClr val="E6E7E7"/>
    </a:custClr>
    <a:custClr name="L3">
      <a:srgbClr val="F1F1F2"/>
    </a:custClr>
    <a:custClr name="L4">
      <a:srgbClr val="FFFFFF"/>
    </a:custClr>
  </a:custClrLst>
  <a:extLst>
    <a:ext uri="{05A4C25C-085E-4340-85A3-A5531E510DB2}">
      <thm15:themeFamily xmlns:thm15="http://schemas.microsoft.com/office/thememl/2012/main" name="Epinion Official Template" id="{722C8C81-2099-402E-A233-C0827FB55D6A}" vid="{4CAB1F78-4144-40F2-A911-D6490D7D57C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00059b11-ac13-4136-a4ac-7ea41b3e3f59">02. Power Point templates</Category>
  </documentManagement>
</p:properties>
</file>

<file path=customXml/item2.xml><?xml version="1.0" encoding="utf-8"?>
<EsriMapsInfo xmlns="ESRI.ArcGIS.Mapping.OfficeIntegration.PowerPointInfo">
  <Version>Version1</Version>
  <RequiresSignIn>False</RequiresSignIn>
</EsriMapsInfo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76984C85AAA442BFB28376E85E4D16" ma:contentTypeVersion="2" ma:contentTypeDescription="Create a new document." ma:contentTypeScope="" ma:versionID="169bbd8dbec99b444dc91f0dbceb2c06">
  <xsd:schema xmlns:xsd="http://www.w3.org/2001/XMLSchema" xmlns:xs="http://www.w3.org/2001/XMLSchema" xmlns:p="http://schemas.microsoft.com/office/2006/metadata/properties" xmlns:ns2="00059b11-ac13-4136-a4ac-7ea41b3e3f59" targetNamespace="http://schemas.microsoft.com/office/2006/metadata/properties" ma:root="true" ma:fieldsID="02ded79b787577d47b72aea09ae0cd23" ns2:_="">
    <xsd:import namespace="00059b11-ac13-4136-a4ac-7ea41b3e3f59"/>
    <xsd:element name="properties">
      <xsd:complexType>
        <xsd:sequence>
          <xsd:element name="documentManagement">
            <xsd:complexType>
              <xsd:all>
                <xsd:element ref="ns2:Categ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059b11-ac13-4136-a4ac-7ea41b3e3f59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default="05. Others" ma:format="Dropdown" ma:internalName="Category">
      <xsd:simpleType>
        <xsd:restriction base="dms:Choice">
          <xsd:enumeration value="01. Tablular report templates"/>
          <xsd:enumeration value="02. Power Point templates"/>
          <xsd:enumeration value="03. Order Form"/>
          <xsd:enumeration value="04. Proposal templates_word"/>
          <xsd:enumeration value="05. Other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931E69-2D7B-4E55-9D49-46D887481A13}">
  <ds:schemaRefs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purl.org/dc/dcmitype/"/>
    <ds:schemaRef ds:uri="http://schemas.microsoft.com/office/2006/documentManagement/types"/>
    <ds:schemaRef ds:uri="00059b11-ac13-4136-a4ac-7ea41b3e3f59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1381307-7243-4C55-8427-0215194087A4}">
  <ds:schemaRefs>
    <ds:schemaRef ds:uri="ESRI.ArcGIS.Mapping.OfficeIntegration.PowerPointInfo"/>
  </ds:schemaRefs>
</ds:datastoreItem>
</file>

<file path=customXml/itemProps3.xml><?xml version="1.0" encoding="utf-8"?>
<ds:datastoreItem xmlns:ds="http://schemas.openxmlformats.org/officeDocument/2006/customXml" ds:itemID="{C4EABA51-58A3-41A3-B0CF-D00F8C3E15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0059b11-ac13-4136-a4ac-7ea41b3e3f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51DD76D-5134-4DEF-A5C3-1446C65F5C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inion Official Template</Template>
  <TotalTime>173</TotalTime>
  <Words>358</Words>
  <Application>Microsoft Office PowerPoint</Application>
  <PresentationFormat>On-screen Show (16:10)</PresentationFormat>
  <Paragraphs>62</Paragraphs>
  <Slides>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4</vt:i4>
      </vt:variant>
    </vt:vector>
  </HeadingPairs>
  <TitlesOfParts>
    <vt:vector size="28" baseType="lpstr">
      <vt:lpstr>ＭＳ Ｐゴシック</vt:lpstr>
      <vt:lpstr>Arial</vt:lpstr>
      <vt:lpstr>Calibri</vt:lpstr>
      <vt:lpstr>Myriad Pro</vt:lpstr>
      <vt:lpstr>Myriad Pro Light</vt:lpstr>
      <vt:lpstr>Purista</vt:lpstr>
      <vt:lpstr>Purista SemiBold</vt:lpstr>
      <vt:lpstr>Segoe UI</vt:lpstr>
      <vt:lpstr>Segoe UI Black</vt:lpstr>
      <vt:lpstr>Segoe UI Light</vt:lpstr>
      <vt:lpstr>Segoe UI Semibold</vt:lpstr>
      <vt:lpstr>Times New Roman</vt:lpstr>
      <vt:lpstr>Verdana</vt:lpstr>
      <vt:lpstr>Wingdings</vt:lpstr>
      <vt:lpstr>Basic Block</vt:lpstr>
      <vt:lpstr>1 Column</vt:lpstr>
      <vt:lpstr>2 Columns</vt:lpstr>
      <vt:lpstr>3 Columns</vt:lpstr>
      <vt:lpstr>4 Columns</vt:lpstr>
      <vt:lpstr>5 Columns</vt:lpstr>
      <vt:lpstr>6 Columns</vt:lpstr>
      <vt:lpstr>7 Columns</vt:lpstr>
      <vt:lpstr>Team &amp; Profile</vt:lpstr>
      <vt:lpstr>Chart</vt:lpstr>
      <vt:lpstr>PowerPoint Presentation</vt:lpstr>
      <vt:lpstr>PowerPoint Presentation</vt:lpstr>
      <vt:lpstr>MOBILITET ER FREMTIDEN OG BRUGERINDSIGTER ER ESSENTIEL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ine Buhl-Hansen</dc:creator>
  <cp:lastModifiedBy>Stine Buhl-Hansen</cp:lastModifiedBy>
  <cp:revision>20</cp:revision>
  <dcterms:created xsi:type="dcterms:W3CDTF">2018-01-24T12:20:11Z</dcterms:created>
  <dcterms:modified xsi:type="dcterms:W3CDTF">2018-02-08T10:5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C76984C85AAA442BFB28376E85E4D16</vt:lpwstr>
  </property>
</Properties>
</file>